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</p:sldMasterIdLst>
  <p:notesMasterIdLst>
    <p:notesMasterId r:id="rId25"/>
  </p:notesMasterIdLst>
  <p:sldIdLst>
    <p:sldId id="421" r:id="rId3"/>
    <p:sldId id="321" r:id="rId4"/>
    <p:sldId id="413" r:id="rId5"/>
    <p:sldId id="384" r:id="rId6"/>
    <p:sldId id="414" r:id="rId7"/>
    <p:sldId id="408" r:id="rId8"/>
    <p:sldId id="415" r:id="rId9"/>
    <p:sldId id="389" r:id="rId10"/>
    <p:sldId id="416" r:id="rId11"/>
    <p:sldId id="409" r:id="rId12"/>
    <p:sldId id="417" r:id="rId13"/>
    <p:sldId id="410" r:id="rId14"/>
    <p:sldId id="418" r:id="rId15"/>
    <p:sldId id="397" r:id="rId16"/>
    <p:sldId id="419" r:id="rId17"/>
    <p:sldId id="400" r:id="rId18"/>
    <p:sldId id="420" r:id="rId19"/>
    <p:sldId id="403" r:id="rId20"/>
    <p:sldId id="405" r:id="rId21"/>
    <p:sldId id="407" r:id="rId22"/>
    <p:sldId id="406" r:id="rId23"/>
    <p:sldId id="422" r:id="rId24"/>
  </p:sldIdLst>
  <p:sldSz cx="10691813" cy="7559675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70931E-5AE8-48F9-9F75-4E21451EC19F}" v="6030" dt="2023-04-30T12:20:17.3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272" autoAdjust="0"/>
    <p:restoredTop sz="94660"/>
  </p:normalViewPr>
  <p:slideViewPr>
    <p:cSldViewPr>
      <p:cViewPr varScale="1">
        <p:scale>
          <a:sx n="65" d="100"/>
          <a:sy n="65" d="100"/>
        </p:scale>
        <p:origin x="82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isi Kapaj" userId="9c79912a-7b99-418b-b6d2-cfe18f2ebb21" providerId="ADAL" clId="{2A70931E-5AE8-48F9-9F75-4E21451EC19F}"/>
    <pc:docChg chg="undo redo custSel addSld delSld modSld sldOrd modMainMaster replTag">
      <pc:chgData name="Keisi Kapaj" userId="9c79912a-7b99-418b-b6d2-cfe18f2ebb21" providerId="ADAL" clId="{2A70931E-5AE8-48F9-9F75-4E21451EC19F}" dt="2023-04-30T12:20:09.983" v="19012"/>
      <pc:docMkLst>
        <pc:docMk/>
      </pc:docMkLst>
      <pc:sldChg chg="del">
        <pc:chgData name="Keisi Kapaj" userId="9c79912a-7b99-418b-b6d2-cfe18f2ebb21" providerId="ADAL" clId="{2A70931E-5AE8-48F9-9F75-4E21451EC19F}" dt="2023-04-04T13:52:01.444" v="5" actId="2696"/>
        <pc:sldMkLst>
          <pc:docMk/>
          <pc:sldMk cId="3423114516" sldId="258"/>
        </pc:sldMkLst>
      </pc:sldChg>
      <pc:sldChg chg="delSp del mod">
        <pc:chgData name="Keisi Kapaj" userId="9c79912a-7b99-418b-b6d2-cfe18f2ebb21" providerId="ADAL" clId="{2A70931E-5AE8-48F9-9F75-4E21451EC19F}" dt="2023-04-04T15:07:23.751" v="1133" actId="2696"/>
        <pc:sldMkLst>
          <pc:docMk/>
          <pc:sldMk cId="2963770879" sldId="279"/>
        </pc:sldMkLst>
        <pc:spChg chg="del">
          <ac:chgData name="Keisi Kapaj" userId="9c79912a-7b99-418b-b6d2-cfe18f2ebb21" providerId="ADAL" clId="{2A70931E-5AE8-48F9-9F75-4E21451EC19F}" dt="2023-04-04T13:58:37.932" v="6" actId="478"/>
          <ac:spMkLst>
            <pc:docMk/>
            <pc:sldMk cId="2963770879" sldId="279"/>
            <ac:spMk id="10" creationId="{1648E259-C7C6-4889-99A9-EC38C5275953}"/>
          </ac:spMkLst>
        </pc:spChg>
      </pc:sldChg>
      <pc:sldChg chg="delSp modSp del mod">
        <pc:chgData name="Keisi Kapaj" userId="9c79912a-7b99-418b-b6d2-cfe18f2ebb21" providerId="ADAL" clId="{2A70931E-5AE8-48F9-9F75-4E21451EC19F}" dt="2023-04-07T09:28:59.600" v="18368" actId="47"/>
        <pc:sldMkLst>
          <pc:docMk/>
          <pc:sldMk cId="1967754059" sldId="280"/>
        </pc:sldMkLst>
        <pc:spChg chg="del">
          <ac:chgData name="Keisi Kapaj" userId="9c79912a-7b99-418b-b6d2-cfe18f2ebb21" providerId="ADAL" clId="{2A70931E-5AE8-48F9-9F75-4E21451EC19F}" dt="2023-04-04T13:51:36.772" v="2" actId="478"/>
          <ac:spMkLst>
            <pc:docMk/>
            <pc:sldMk cId="1967754059" sldId="280"/>
            <ac:spMk id="3" creationId="{3A0FAFFC-6BC8-C47D-8B30-552EE0B55684}"/>
          </ac:spMkLst>
        </pc:spChg>
        <pc:spChg chg="del">
          <ac:chgData name="Keisi Kapaj" userId="9c79912a-7b99-418b-b6d2-cfe18f2ebb21" providerId="ADAL" clId="{2A70931E-5AE8-48F9-9F75-4E21451EC19F}" dt="2023-04-04T13:51:39.789" v="3" actId="478"/>
          <ac:spMkLst>
            <pc:docMk/>
            <pc:sldMk cId="1967754059" sldId="280"/>
            <ac:spMk id="6" creationId="{C1B7F294-B158-9ADF-0791-90D32C20097E}"/>
          </ac:spMkLst>
        </pc:spChg>
        <pc:spChg chg="del mod">
          <ac:chgData name="Keisi Kapaj" userId="9c79912a-7b99-418b-b6d2-cfe18f2ebb21" providerId="ADAL" clId="{2A70931E-5AE8-48F9-9F75-4E21451EC19F}" dt="2023-04-04T13:51:31.928" v="1" actId="478"/>
          <ac:spMkLst>
            <pc:docMk/>
            <pc:sldMk cId="1967754059" sldId="280"/>
            <ac:spMk id="12" creationId="{0F6AE4F2-6B90-4D6B-B636-E4809076D0D6}"/>
          </ac:spMkLst>
        </pc:spChg>
        <pc:grpChg chg="del">
          <ac:chgData name="Keisi Kapaj" userId="9c79912a-7b99-418b-b6d2-cfe18f2ebb21" providerId="ADAL" clId="{2A70931E-5AE8-48F9-9F75-4E21451EC19F}" dt="2023-04-04T13:51:42.192" v="4" actId="478"/>
          <ac:grpSpMkLst>
            <pc:docMk/>
            <pc:sldMk cId="1967754059" sldId="280"/>
            <ac:grpSpMk id="8" creationId="{44A032B4-2D35-4EB5-96F7-66FA67F9C21D}"/>
          </ac:grpSpMkLst>
        </pc:grpChg>
      </pc:sldChg>
      <pc:sldChg chg="addSp delSp modSp mod">
        <pc:chgData name="Keisi Kapaj" userId="9c79912a-7b99-418b-b6d2-cfe18f2ebb21" providerId="ADAL" clId="{2A70931E-5AE8-48F9-9F75-4E21451EC19F}" dt="2023-04-07T09:38:06.020" v="18748" actId="404"/>
        <pc:sldMkLst>
          <pc:docMk/>
          <pc:sldMk cId="1786545703" sldId="321"/>
        </pc:sldMkLst>
        <pc:spChg chg="mod">
          <ac:chgData name="Keisi Kapaj" userId="9c79912a-7b99-418b-b6d2-cfe18f2ebb21" providerId="ADAL" clId="{2A70931E-5AE8-48F9-9F75-4E21451EC19F}" dt="2023-04-07T09:37:43.334" v="18702" actId="948"/>
          <ac:spMkLst>
            <pc:docMk/>
            <pc:sldMk cId="1786545703" sldId="321"/>
            <ac:spMk id="2" creationId="{4C8C8514-B141-4733-8467-3A5604797C39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" creationId="{48E5B4AF-7236-4C46-A297-A6237CDB044C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4" creationId="{DB1E2F34-0A50-444A-8F3C-5A3D8D2EA601}"/>
          </ac:spMkLst>
        </pc:spChg>
        <pc:spChg chg="add del mod modVis">
          <ac:chgData name="Keisi Kapaj" userId="9c79912a-7b99-418b-b6d2-cfe18f2ebb21" providerId="ADAL" clId="{2A70931E-5AE8-48F9-9F75-4E21451EC19F}" dt="2023-04-07T09:37:13.091" v="18595"/>
          <ac:spMkLst>
            <pc:docMk/>
            <pc:sldMk cId="1786545703" sldId="321"/>
            <ac:spMk id="5" creationId="{A78A96C0-84C6-476D-98A5-D06C42435A98}"/>
          </ac:spMkLst>
        </pc:spChg>
        <pc:spChg chg="del topLvl">
          <ac:chgData name="Keisi Kapaj" userId="9c79912a-7b99-418b-b6d2-cfe18f2ebb21" providerId="ADAL" clId="{2A70931E-5AE8-48F9-9F75-4E21451EC19F}" dt="2023-04-04T15:53:11.740" v="1547" actId="478"/>
          <ac:spMkLst>
            <pc:docMk/>
            <pc:sldMk cId="1786545703" sldId="321"/>
            <ac:spMk id="6" creationId="{AF525F41-DB5C-4D72-8180-0C45E39CA61B}"/>
          </ac:spMkLst>
        </pc:spChg>
        <pc:spChg chg="add del mod modVis">
          <ac:chgData name="Keisi Kapaj" userId="9c79912a-7b99-418b-b6d2-cfe18f2ebb21" providerId="ADAL" clId="{2A70931E-5AE8-48F9-9F75-4E21451EC19F}" dt="2023-04-07T09:37:22.612" v="18654"/>
          <ac:spMkLst>
            <pc:docMk/>
            <pc:sldMk cId="1786545703" sldId="321"/>
            <ac:spMk id="7" creationId="{983B0D67-9623-4DA1-8AAA-D7ED62C46DD0}"/>
          </ac:spMkLst>
        </pc:spChg>
        <pc:spChg chg="add del mod modVis">
          <ac:chgData name="Keisi Kapaj" userId="9c79912a-7b99-418b-b6d2-cfe18f2ebb21" providerId="ADAL" clId="{2A70931E-5AE8-48F9-9F75-4E21451EC19F}" dt="2023-04-07T09:37:24.180" v="18698"/>
          <ac:spMkLst>
            <pc:docMk/>
            <pc:sldMk cId="1786545703" sldId="321"/>
            <ac:spMk id="8" creationId="{7EF922C1-B00C-4976-9FDF-4358C426E245}"/>
          </ac:spMkLst>
        </pc:spChg>
        <pc:spChg chg="add del mod modVis">
          <ac:chgData name="Keisi Kapaj" userId="9c79912a-7b99-418b-b6d2-cfe18f2ebb21" providerId="ADAL" clId="{2A70931E-5AE8-48F9-9F75-4E21451EC19F}" dt="2023-04-07T09:37:43.397" v="18742"/>
          <ac:spMkLst>
            <pc:docMk/>
            <pc:sldMk cId="1786545703" sldId="321"/>
            <ac:spMk id="9" creationId="{133E3EF1-DDCF-42C2-A5E8-BADA9119DB59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19" creationId="{B89B4AEA-C6AC-36CC-E0A8-5A1CC40F6A4B}"/>
          </ac:spMkLst>
        </pc:spChg>
        <pc:spChg chg="mod">
          <ac:chgData name="Keisi Kapaj" userId="9c79912a-7b99-418b-b6d2-cfe18f2ebb21" providerId="ADAL" clId="{2A70931E-5AE8-48F9-9F75-4E21451EC19F}" dt="2023-04-07T09:38:06.020" v="18748" actId="404"/>
          <ac:spMkLst>
            <pc:docMk/>
            <pc:sldMk cId="1786545703" sldId="321"/>
            <ac:spMk id="20" creationId="{905C0C50-553A-1F11-9BDC-4B9AA50A4412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1" creationId="{BC5B428A-14CE-A900-4BF1-1F0FAC0F58FB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2" creationId="{6B64A709-6B15-7E38-C124-CDE359A82405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3" creationId="{EFCBA730-577D-3AAA-4477-BD3D9E7F68EF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4" creationId="{6B4DDE88-2DAE-E70D-5C02-C6E20EC487D7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5" creationId="{DE6A17BC-31EE-329A-09DB-622D68DCC5C5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6" creationId="{45A1EDF4-5156-42D2-0ECD-A6AE9CB51720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7" creationId="{3A4AAC2F-9856-D22C-E960-58DAF784C6A8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8" creationId="{DFDE3369-5375-049E-5906-2121D03425CF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29" creationId="{1DD05593-EE33-FA13-1218-5A0176CC37C5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0" creationId="{86B4EC97-C59B-C5E2-F96B-ABD5895D80C8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1" creationId="{A9890436-90AB-F0A1-8CE5-C275D2615C5F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2" creationId="{69E5D1C7-0306-4653-0204-7EF639926B5C}"/>
          </ac:spMkLst>
        </pc:spChg>
        <pc:spChg chg="add 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3" creationId="{2EE48C50-41D6-4B8B-87A6-5494068F7482}"/>
          </ac:spMkLst>
        </pc:spChg>
        <pc:spChg chg="add 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34" creationId="{72AC99F0-64B5-4BC4-BA2C-FCC7BB89C231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54" creationId="{CD5DFE22-237E-A08B-58FD-BCCB90ABB040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55" creationId="{1844700F-5C38-0F96-D05A-FB92333230AC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56" creationId="{82C386FA-0D0E-F9AA-A988-79359346CA7E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57" creationId="{DFE2AD77-00B9-9778-1FE3-233CC16C68A6}"/>
          </ac:spMkLst>
        </pc:spChg>
        <pc:spChg chg="mod">
          <ac:chgData name="Keisi Kapaj" userId="9c79912a-7b99-418b-b6d2-cfe18f2ebb21" providerId="ADAL" clId="{2A70931E-5AE8-48F9-9F75-4E21451EC19F}" dt="2023-04-07T09:37:42.810" v="18701" actId="403"/>
          <ac:spMkLst>
            <pc:docMk/>
            <pc:sldMk cId="1786545703" sldId="321"/>
            <ac:spMk id="58" creationId="{7F168FE6-387D-0F7C-BE2E-381B10BB1BE3}"/>
          </ac:spMkLst>
        </pc:spChg>
        <pc:spChg chg="del mod">
          <ac:chgData name="Keisi Kapaj" userId="9c79912a-7b99-418b-b6d2-cfe18f2ebb21" providerId="ADAL" clId="{2A70931E-5AE8-48F9-9F75-4E21451EC19F}" dt="2023-04-07T09:36:28.400" v="18549" actId="478"/>
          <ac:spMkLst>
            <pc:docMk/>
            <pc:sldMk cId="1786545703" sldId="321"/>
            <ac:spMk id="59" creationId="{17E45A31-177F-FB17-2DDE-668A522883A2}"/>
          </ac:spMkLst>
        </pc:spChg>
        <pc:spChg chg="del">
          <ac:chgData name="Keisi Kapaj" userId="9c79912a-7b99-418b-b6d2-cfe18f2ebb21" providerId="ADAL" clId="{2A70931E-5AE8-48F9-9F75-4E21451EC19F}" dt="2023-04-07T09:36:31.387" v="18550" actId="478"/>
          <ac:spMkLst>
            <pc:docMk/>
            <pc:sldMk cId="1786545703" sldId="321"/>
            <ac:spMk id="60" creationId="{6F35CE10-34FD-62CC-1CC7-9DA22CA2A041}"/>
          </ac:spMkLst>
        </pc:spChg>
        <pc:grpChg chg="del">
          <ac:chgData name="Keisi Kapaj" userId="9c79912a-7b99-418b-b6d2-cfe18f2ebb21" providerId="ADAL" clId="{2A70931E-5AE8-48F9-9F75-4E21451EC19F}" dt="2023-04-04T15:53:11.740" v="1547" actId="478"/>
          <ac:grpSpMkLst>
            <pc:docMk/>
            <pc:sldMk cId="1786545703" sldId="321"/>
            <ac:grpSpMk id="5" creationId="{0C9E2BFE-D572-40A7-BD0E-557FC3028833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9:37:43.401" v="18744"/>
          <ac:graphicFrameMkLst>
            <pc:docMk/>
            <pc:sldMk cId="1786545703" sldId="321"/>
            <ac:graphicFrameMk id="6" creationId="{80DA5C6A-20E1-43FD-BE90-DBCFFF4CA1BE}"/>
          </ac:graphicFrameMkLst>
        </pc:graphicFrameChg>
        <pc:picChg chg="del mod topLvl">
          <ac:chgData name="Keisi Kapaj" userId="9c79912a-7b99-418b-b6d2-cfe18f2ebb21" providerId="ADAL" clId="{2A70931E-5AE8-48F9-9F75-4E21451EC19F}" dt="2023-04-04T15:53:15.551" v="1549" actId="478"/>
          <ac:picMkLst>
            <pc:docMk/>
            <pc:sldMk cId="1786545703" sldId="321"/>
            <ac:picMk id="7" creationId="{2B4E9E32-D376-4C5B-BB7F-80ABDBBC9A10}"/>
          </ac:picMkLst>
        </pc:picChg>
      </pc:sldChg>
      <pc:sldChg chg="del">
        <pc:chgData name="Keisi Kapaj" userId="9c79912a-7b99-418b-b6d2-cfe18f2ebb21" providerId="ADAL" clId="{2A70931E-5AE8-48F9-9F75-4E21451EC19F}" dt="2023-04-04T15:53:36.509" v="1550" actId="2696"/>
        <pc:sldMkLst>
          <pc:docMk/>
          <pc:sldMk cId="2624389169" sldId="361"/>
        </pc:sldMkLst>
      </pc:sldChg>
      <pc:sldChg chg="addSp delSp modSp mod">
        <pc:chgData name="Keisi Kapaj" userId="9c79912a-7b99-418b-b6d2-cfe18f2ebb21" providerId="ADAL" clId="{2A70931E-5AE8-48F9-9F75-4E21451EC19F}" dt="2023-04-07T09:53:43.576" v="18794" actId="14100"/>
        <pc:sldMkLst>
          <pc:docMk/>
          <pc:sldMk cId="2784902317" sldId="384"/>
        </pc:sldMkLst>
        <pc:spChg chg="mod">
          <ac:chgData name="Keisi Kapaj" userId="9c79912a-7b99-418b-b6d2-cfe18f2ebb21" providerId="ADAL" clId="{2A70931E-5AE8-48F9-9F75-4E21451EC19F}" dt="2023-04-04T14:35:25.642" v="183" actId="20577"/>
          <ac:spMkLst>
            <pc:docMk/>
            <pc:sldMk cId="2784902317" sldId="384"/>
            <ac:spMk id="2" creationId="{C41EC61E-26A4-424C-8C59-3FD6CA01EF14}"/>
          </ac:spMkLst>
        </pc:spChg>
        <pc:spChg chg="mod">
          <ac:chgData name="Keisi Kapaj" userId="9c79912a-7b99-418b-b6d2-cfe18f2ebb21" providerId="ADAL" clId="{2A70931E-5AE8-48F9-9F75-4E21451EC19F}" dt="2023-04-07T08:26:13.820" v="17977" actId="2711"/>
          <ac:spMkLst>
            <pc:docMk/>
            <pc:sldMk cId="2784902317" sldId="384"/>
            <ac:spMk id="3" creationId="{B4D5500A-C5A5-4D9C-BB2B-7117C6E0AF77}"/>
          </ac:spMkLst>
        </pc:spChg>
        <pc:spChg chg="mod">
          <ac:chgData name="Keisi Kapaj" userId="9c79912a-7b99-418b-b6d2-cfe18f2ebb21" providerId="ADAL" clId="{2A70931E-5AE8-48F9-9F75-4E21451EC19F}" dt="2023-04-07T08:26:13.820" v="17977" actId="2711"/>
          <ac:spMkLst>
            <pc:docMk/>
            <pc:sldMk cId="2784902317" sldId="384"/>
            <ac:spMk id="4" creationId="{00184E5D-0782-481B-A625-BCAE6A0081C4}"/>
          </ac:spMkLst>
        </pc:spChg>
        <pc:spChg chg="mod">
          <ac:chgData name="Keisi Kapaj" userId="9c79912a-7b99-418b-b6d2-cfe18f2ebb21" providerId="ADAL" clId="{2A70931E-5AE8-48F9-9F75-4E21451EC19F}" dt="2023-04-07T08:26:19.554" v="18022" actId="948"/>
          <ac:spMkLst>
            <pc:docMk/>
            <pc:sldMk cId="2784902317" sldId="384"/>
            <ac:spMk id="5" creationId="{4F8E4B20-E264-B8B7-1100-141ED5818BC6}"/>
          </ac:spMkLst>
        </pc:spChg>
        <pc:spChg chg="mod">
          <ac:chgData name="Keisi Kapaj" userId="9c79912a-7b99-418b-b6d2-cfe18f2ebb21" providerId="ADAL" clId="{2A70931E-5AE8-48F9-9F75-4E21451EC19F}" dt="2023-04-04T14:40:50.636" v="372" actId="20577"/>
          <ac:spMkLst>
            <pc:docMk/>
            <pc:sldMk cId="2784902317" sldId="384"/>
            <ac:spMk id="6" creationId="{18E6468C-D0C4-461D-A3D3-7D0CDE22F54C}"/>
          </ac:spMkLst>
        </pc:spChg>
        <pc:spChg chg="add del mod modVis">
          <ac:chgData name="Keisi Kapaj" userId="9c79912a-7b99-418b-b6d2-cfe18f2ebb21" providerId="ADAL" clId="{2A70931E-5AE8-48F9-9F75-4E21451EC19F}" dt="2023-04-05T09:49:44.773" v="1763"/>
          <ac:spMkLst>
            <pc:docMk/>
            <pc:sldMk cId="2784902317" sldId="384"/>
            <ac:spMk id="7" creationId="{19A7441E-96EF-4606-80E1-E028AE4F92BF}"/>
          </ac:spMkLst>
        </pc:spChg>
        <pc:spChg chg="add del mod modVis">
          <ac:chgData name="Keisi Kapaj" userId="9c79912a-7b99-418b-b6d2-cfe18f2ebb21" providerId="ADAL" clId="{2A70931E-5AE8-48F9-9F75-4E21451EC19F}" dt="2023-04-07T08:26:14.559" v="18018"/>
          <ac:spMkLst>
            <pc:docMk/>
            <pc:sldMk cId="2784902317" sldId="384"/>
            <ac:spMk id="7" creationId="{4B1253E0-C085-4221-983A-B3FAEFBBF520}"/>
          </ac:spMkLst>
        </pc:spChg>
        <pc:spChg chg="del">
          <ac:chgData name="Keisi Kapaj" userId="9c79912a-7b99-418b-b6d2-cfe18f2ebb21" providerId="ADAL" clId="{2A70931E-5AE8-48F9-9F75-4E21451EC19F}" dt="2023-04-04T14:16:43.216" v="10" actId="931"/>
          <ac:spMkLst>
            <pc:docMk/>
            <pc:sldMk cId="2784902317" sldId="384"/>
            <ac:spMk id="7" creationId="{E8853E54-9132-D24A-2F3F-1E79B1992213}"/>
          </ac:spMkLst>
        </pc:spChg>
        <pc:spChg chg="mod">
          <ac:chgData name="Keisi Kapaj" userId="9c79912a-7b99-418b-b6d2-cfe18f2ebb21" providerId="ADAL" clId="{2A70931E-5AE8-48F9-9F75-4E21451EC19F}" dt="2023-04-07T09:42:06.804" v="18779" actId="20577"/>
          <ac:spMkLst>
            <pc:docMk/>
            <pc:sldMk cId="2784902317" sldId="384"/>
            <ac:spMk id="9" creationId="{668B96FB-AA0C-166D-476F-A06A2B10033B}"/>
          </ac:spMkLst>
        </pc:spChg>
        <pc:spChg chg="mod">
          <ac:chgData name="Keisi Kapaj" userId="9c79912a-7b99-418b-b6d2-cfe18f2ebb21" providerId="ADAL" clId="{2A70931E-5AE8-48F9-9F75-4E21451EC19F}" dt="2023-04-07T08:26:13.820" v="17977" actId="2711"/>
          <ac:spMkLst>
            <pc:docMk/>
            <pc:sldMk cId="2784902317" sldId="384"/>
            <ac:spMk id="10" creationId="{8CAF6A42-202D-DF27-D983-C8B93083E7AF}"/>
          </ac:spMkLst>
        </pc:spChg>
        <pc:spChg chg="mod">
          <ac:chgData name="Keisi Kapaj" userId="9c79912a-7b99-418b-b6d2-cfe18f2ebb21" providerId="ADAL" clId="{2A70931E-5AE8-48F9-9F75-4E21451EC19F}" dt="2023-04-07T08:26:13.820" v="17977" actId="2711"/>
          <ac:spMkLst>
            <pc:docMk/>
            <pc:sldMk cId="2784902317" sldId="384"/>
            <ac:spMk id="11" creationId="{0E3CF444-3997-1F6A-BA6D-146CF32DCEAA}"/>
          </ac:spMkLst>
        </pc:spChg>
        <pc:spChg chg="add del mod modVis">
          <ac:chgData name="Keisi Kapaj" userId="9c79912a-7b99-418b-b6d2-cfe18f2ebb21" providerId="ADAL" clId="{2A70931E-5AE8-48F9-9F75-4E21451EC19F}" dt="2023-04-07T08:26:19.682" v="18062"/>
          <ac:spMkLst>
            <pc:docMk/>
            <pc:sldMk cId="2784902317" sldId="384"/>
            <ac:spMk id="17" creationId="{E24285DE-3AAC-4E67-876A-8B3BF3172F05}"/>
          </ac:spMkLst>
        </pc:spChg>
        <pc:spChg chg="add mod">
          <ac:chgData name="Keisi Kapaj" userId="9c79912a-7b99-418b-b6d2-cfe18f2ebb21" providerId="ADAL" clId="{2A70931E-5AE8-48F9-9F75-4E21451EC19F}" dt="2023-04-07T08:26:13.820" v="17977" actId="2711"/>
          <ac:spMkLst>
            <pc:docMk/>
            <pc:sldMk cId="2784902317" sldId="384"/>
            <ac:spMk id="22" creationId="{12D137EA-AFFE-4AE6-9AB9-36CF2A7FF5BA}"/>
          </ac:spMkLst>
        </pc:spChg>
        <pc:spChg chg="add del mod modVis">
          <ac:chgData name="Keisi Kapaj" userId="9c79912a-7b99-418b-b6d2-cfe18f2ebb21" providerId="ADAL" clId="{2A70931E-5AE8-48F9-9F75-4E21451EC19F}" dt="2023-04-04T14:34:42.577" v="141"/>
          <ac:spMkLst>
            <pc:docMk/>
            <pc:sldMk cId="2784902317" sldId="384"/>
            <ac:spMk id="23" creationId="{A8CEB550-30FF-4012-97AC-7AB8C96D3842}"/>
          </ac:spMkLst>
        </pc:spChg>
        <pc:grpChg chg="add del mod">
          <ac:chgData name="Keisi Kapaj" userId="9c79912a-7b99-418b-b6d2-cfe18f2ebb21" providerId="ADAL" clId="{2A70931E-5AE8-48F9-9F75-4E21451EC19F}" dt="2023-04-07T08:26:13.820" v="17977" actId="2711"/>
          <ac:grpSpMkLst>
            <pc:docMk/>
            <pc:sldMk cId="2784902317" sldId="384"/>
            <ac:grpSpMk id="16" creationId="{E29F85AC-4D85-430D-95AA-089353D454AE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6:19.692" v="18064"/>
          <ac:graphicFrameMkLst>
            <pc:docMk/>
            <pc:sldMk cId="2784902317" sldId="384"/>
            <ac:graphicFrameMk id="24" creationId="{2217EC38-7681-4B76-BC7C-7FAA292687E9}"/>
          </ac:graphicFrameMkLst>
        </pc:graphicFrameChg>
        <pc:graphicFrameChg chg="add mod">
          <ac:chgData name="Keisi Kapaj" userId="9c79912a-7b99-418b-b6d2-cfe18f2ebb21" providerId="ADAL" clId="{2A70931E-5AE8-48F9-9F75-4E21451EC19F}" dt="2023-04-07T08:26:13.820" v="17977" actId="2711"/>
          <ac:graphicFrameMkLst>
            <pc:docMk/>
            <pc:sldMk cId="2784902317" sldId="384"/>
            <ac:graphicFrameMk id="25" creationId="{84532E4F-EF3D-4470-8D36-6AB87D219EB1}"/>
          </ac:graphicFrameMkLst>
        </pc:graphicFrameChg>
        <pc:picChg chg="add mod modCrop">
          <ac:chgData name="Keisi Kapaj" userId="9c79912a-7b99-418b-b6d2-cfe18f2ebb21" providerId="ADAL" clId="{2A70931E-5AE8-48F9-9F75-4E21451EC19F}" dt="2023-04-07T09:53:43.576" v="18794" actId="14100"/>
          <ac:picMkLst>
            <pc:docMk/>
            <pc:sldMk cId="2784902317" sldId="384"/>
            <ac:picMk id="19" creationId="{9CF22F08-B722-429A-97B6-AF006D5C101F}"/>
          </ac:picMkLst>
        </pc:picChg>
        <pc:picChg chg="add del mod">
          <ac:chgData name="Keisi Kapaj" userId="9c79912a-7b99-418b-b6d2-cfe18f2ebb21" providerId="ADAL" clId="{2A70931E-5AE8-48F9-9F75-4E21451EC19F}" dt="2023-04-04T14:17:11.156" v="13" actId="478"/>
          <ac:picMkLst>
            <pc:docMk/>
            <pc:sldMk cId="2784902317" sldId="384"/>
            <ac:picMk id="20" creationId="{A6A4AFA2-C52C-46EB-B05D-F445EADBCF84}"/>
          </ac:picMkLst>
        </pc:picChg>
      </pc:sldChg>
      <pc:sldChg chg="modSp del mod">
        <pc:chgData name="Keisi Kapaj" userId="9c79912a-7b99-418b-b6d2-cfe18f2ebb21" providerId="ADAL" clId="{2A70931E-5AE8-48F9-9F75-4E21451EC19F}" dt="2023-04-07T09:23:45.835" v="18291" actId="2696"/>
        <pc:sldMkLst>
          <pc:docMk/>
          <pc:sldMk cId="341217184" sldId="385"/>
        </pc:sldMkLst>
        <pc:spChg chg="mod">
          <ac:chgData name="Keisi Kapaj" userId="9c79912a-7b99-418b-b6d2-cfe18f2ebb21" providerId="ADAL" clId="{2A70931E-5AE8-48F9-9F75-4E21451EC19F}" dt="2023-04-04T14:31:09.528" v="27" actId="20577"/>
          <ac:spMkLst>
            <pc:docMk/>
            <pc:sldMk cId="341217184" sldId="385"/>
            <ac:spMk id="18" creationId="{CE513C13-6E51-E41A-74D1-0C8925FAF0ED}"/>
          </ac:spMkLst>
        </pc:spChg>
      </pc:sldChg>
      <pc:sldChg chg="modSp del mod">
        <pc:chgData name="Keisi Kapaj" userId="9c79912a-7b99-418b-b6d2-cfe18f2ebb21" providerId="ADAL" clId="{2A70931E-5AE8-48F9-9F75-4E21451EC19F}" dt="2023-04-07T09:24:37.700" v="18302" actId="2696"/>
        <pc:sldMkLst>
          <pc:docMk/>
          <pc:sldMk cId="762617617" sldId="386"/>
        </pc:sldMkLst>
        <pc:spChg chg="mod">
          <ac:chgData name="Keisi Kapaj" userId="9c79912a-7b99-418b-b6d2-cfe18f2ebb21" providerId="ADAL" clId="{2A70931E-5AE8-48F9-9F75-4E21451EC19F}" dt="2023-04-04T14:38:05.584" v="187" actId="403"/>
          <ac:spMkLst>
            <pc:docMk/>
            <pc:sldMk cId="762617617" sldId="386"/>
            <ac:spMk id="6" creationId="{E7747382-338C-03CA-8EB6-08B969D41DFD}"/>
          </ac:spMkLst>
        </pc:spChg>
      </pc:sldChg>
      <pc:sldChg chg="addSp delSp modSp del mod">
        <pc:chgData name="Keisi Kapaj" userId="9c79912a-7b99-418b-b6d2-cfe18f2ebb21" providerId="ADAL" clId="{2A70931E-5AE8-48F9-9F75-4E21451EC19F}" dt="2023-04-05T10:53:48.007" v="2954" actId="2696"/>
        <pc:sldMkLst>
          <pc:docMk/>
          <pc:sldMk cId="1670433635" sldId="387"/>
        </pc:sldMkLst>
        <pc:spChg chg="mod">
          <ac:chgData name="Keisi Kapaj" userId="9c79912a-7b99-418b-b6d2-cfe18f2ebb21" providerId="ADAL" clId="{2A70931E-5AE8-48F9-9F75-4E21451EC19F}" dt="2023-04-04T14:39:41.654" v="314" actId="20577"/>
          <ac:spMkLst>
            <pc:docMk/>
            <pc:sldMk cId="1670433635" sldId="387"/>
            <ac:spMk id="2" creationId="{18E6468C-D0C4-461D-A3D3-7D0CDE22F54C}"/>
          </ac:spMkLst>
        </pc:spChg>
        <pc:spChg chg="mod">
          <ac:chgData name="Keisi Kapaj" userId="9c79912a-7b99-418b-b6d2-cfe18f2ebb21" providerId="ADAL" clId="{2A70931E-5AE8-48F9-9F75-4E21451EC19F}" dt="2023-04-04T14:39:30.983" v="298" actId="14100"/>
          <ac:spMkLst>
            <pc:docMk/>
            <pc:sldMk cId="1670433635" sldId="387"/>
            <ac:spMk id="5" creationId="{4F8E4B20-E264-B8B7-1100-141ED5818BC6}"/>
          </ac:spMkLst>
        </pc:spChg>
        <pc:spChg chg="mod">
          <ac:chgData name="Keisi Kapaj" userId="9c79912a-7b99-418b-b6d2-cfe18f2ebb21" providerId="ADAL" clId="{2A70931E-5AE8-48F9-9F75-4E21451EC19F}" dt="2023-04-04T14:41:15.894" v="373"/>
          <ac:spMkLst>
            <pc:docMk/>
            <pc:sldMk cId="1670433635" sldId="387"/>
            <ac:spMk id="6" creationId="{C41EC61E-26A4-424C-8C59-3FD6CA01EF14}"/>
          </ac:spMkLst>
        </pc:spChg>
        <pc:spChg chg="mod">
          <ac:chgData name="Keisi Kapaj" userId="9c79912a-7b99-418b-b6d2-cfe18f2ebb21" providerId="ADAL" clId="{2A70931E-5AE8-48F9-9F75-4E21451EC19F}" dt="2023-04-04T14:41:45.825" v="412" actId="20577"/>
          <ac:spMkLst>
            <pc:docMk/>
            <pc:sldMk cId="1670433635" sldId="387"/>
            <ac:spMk id="9" creationId="{668B96FB-AA0C-166D-476F-A06A2B10033B}"/>
          </ac:spMkLst>
        </pc:spChg>
        <pc:spChg chg="add del mod">
          <ac:chgData name="Keisi Kapaj" userId="9c79912a-7b99-418b-b6d2-cfe18f2ebb21" providerId="ADAL" clId="{2A70931E-5AE8-48F9-9F75-4E21451EC19F}" dt="2023-04-05T10:12:53.535" v="2718" actId="14100"/>
          <ac:spMkLst>
            <pc:docMk/>
            <pc:sldMk cId="1670433635" sldId="387"/>
            <ac:spMk id="10" creationId="{8CAF6A42-202D-DF27-D983-C8B93083E7AF}"/>
          </ac:spMkLst>
        </pc:spChg>
        <pc:spChg chg="mod">
          <ac:chgData name="Keisi Kapaj" userId="9c79912a-7b99-418b-b6d2-cfe18f2ebb21" providerId="ADAL" clId="{2A70931E-5AE8-48F9-9F75-4E21451EC19F}" dt="2023-04-04T14:41:34.249" v="390" actId="20577"/>
          <ac:spMkLst>
            <pc:docMk/>
            <pc:sldMk cId="1670433635" sldId="387"/>
            <ac:spMk id="11" creationId="{0E3CF444-3997-1F6A-BA6D-146CF32DCEAA}"/>
          </ac:spMkLst>
        </pc:spChg>
        <pc:spChg chg="add del mod modVis">
          <ac:chgData name="Keisi Kapaj" userId="9c79912a-7b99-418b-b6d2-cfe18f2ebb21" providerId="ADAL" clId="{2A70931E-5AE8-48F9-9F75-4E21451EC19F}" dt="2023-04-04T14:39:19.253" v="229"/>
          <ac:spMkLst>
            <pc:docMk/>
            <pc:sldMk cId="1670433635" sldId="387"/>
            <ac:spMk id="17" creationId="{C4DDB0B8-98C3-48B7-991C-90BF06B6E1DA}"/>
          </ac:spMkLst>
        </pc:spChg>
        <pc:spChg chg="add del mod modVis">
          <ac:chgData name="Keisi Kapaj" userId="9c79912a-7b99-418b-b6d2-cfe18f2ebb21" providerId="ADAL" clId="{2A70931E-5AE8-48F9-9F75-4E21451EC19F}" dt="2023-04-04T14:39:23.995" v="287"/>
          <ac:spMkLst>
            <pc:docMk/>
            <pc:sldMk cId="1670433635" sldId="387"/>
            <ac:spMk id="19" creationId="{1E200C82-9969-4E0F-94F9-CA3C40E16D82}"/>
          </ac:spMkLst>
        </pc:spChg>
        <pc:graphicFrameChg chg="add mod ord modVis replST">
          <ac:chgData name="Keisi Kapaj" userId="9c79912a-7b99-418b-b6d2-cfe18f2ebb21" providerId="ADAL" clId="{2A70931E-5AE8-48F9-9F75-4E21451EC19F}" dt="2023-04-04T14:39:31.036" v="300"/>
          <ac:graphicFrameMkLst>
            <pc:docMk/>
            <pc:sldMk cId="1670433635" sldId="387"/>
            <ac:graphicFrameMk id="18" creationId="{1B048219-0AF5-45D3-993F-D3B8D4B6EBF9}"/>
          </ac:graphicFrameMkLst>
        </pc:graphicFrameChg>
        <pc:graphicFrameChg chg="add mod">
          <ac:chgData name="Keisi Kapaj" userId="9c79912a-7b99-418b-b6d2-cfe18f2ebb21" providerId="ADAL" clId="{2A70931E-5AE8-48F9-9F75-4E21451EC19F}" dt="2023-04-04T19:28:03.581" v="1552"/>
          <ac:graphicFrameMkLst>
            <pc:docMk/>
            <pc:sldMk cId="1670433635" sldId="387"/>
            <ac:graphicFrameMk id="20" creationId="{A584920D-0E4C-D04F-6D82-84D7E4AE5264}"/>
          </ac:graphicFrameMkLst>
        </pc:graphicFrameChg>
        <pc:graphicFrameChg chg="add mod">
          <ac:chgData name="Keisi Kapaj" userId="9c79912a-7b99-418b-b6d2-cfe18f2ebb21" providerId="ADAL" clId="{2A70931E-5AE8-48F9-9F75-4E21451EC19F}" dt="2023-04-04T19:28:21.488" v="1556"/>
          <ac:graphicFrameMkLst>
            <pc:docMk/>
            <pc:sldMk cId="1670433635" sldId="387"/>
            <ac:graphicFrameMk id="21" creationId="{A584920D-0E4C-D04F-6D82-84D7E4AE5264}"/>
          </ac:graphicFrameMkLst>
        </pc:graphicFrameChg>
        <pc:graphicFrameChg chg="add del mod">
          <ac:chgData name="Keisi Kapaj" userId="9c79912a-7b99-418b-b6d2-cfe18f2ebb21" providerId="ADAL" clId="{2A70931E-5AE8-48F9-9F75-4E21451EC19F}" dt="2023-04-04T19:30:31.316" v="1577" actId="21"/>
          <ac:graphicFrameMkLst>
            <pc:docMk/>
            <pc:sldMk cId="1670433635" sldId="387"/>
            <ac:graphicFrameMk id="22" creationId="{A584920D-0E4C-D04F-6D82-84D7E4AE5264}"/>
          </ac:graphicFrameMkLst>
        </pc:graphicFrameChg>
      </pc:sldChg>
      <pc:sldChg chg="modSp del mod">
        <pc:chgData name="Keisi Kapaj" userId="9c79912a-7b99-418b-b6d2-cfe18f2ebb21" providerId="ADAL" clId="{2A70931E-5AE8-48F9-9F75-4E21451EC19F}" dt="2023-04-07T09:25:08.078" v="18311" actId="47"/>
        <pc:sldMkLst>
          <pc:docMk/>
          <pc:sldMk cId="630413301" sldId="388"/>
        </pc:sldMkLst>
        <pc:spChg chg="mod">
          <ac:chgData name="Keisi Kapaj" userId="9c79912a-7b99-418b-b6d2-cfe18f2ebb21" providerId="ADAL" clId="{2A70931E-5AE8-48F9-9F75-4E21451EC19F}" dt="2023-04-04T14:47:17.096" v="477" actId="20577"/>
          <ac:spMkLst>
            <pc:docMk/>
            <pc:sldMk cId="630413301" sldId="388"/>
            <ac:spMk id="9" creationId="{CD6E7274-E94A-A826-EF1A-85121A63FA29}"/>
          </ac:spMkLst>
        </pc:spChg>
      </pc:sldChg>
      <pc:sldChg chg="addSp delSp modSp mod">
        <pc:chgData name="Keisi Kapaj" userId="9c79912a-7b99-418b-b6d2-cfe18f2ebb21" providerId="ADAL" clId="{2A70931E-5AE8-48F9-9F75-4E21451EC19F}" dt="2023-04-07T08:25:17.225" v="17972"/>
        <pc:sldMkLst>
          <pc:docMk/>
          <pc:sldMk cId="2223062477" sldId="389"/>
        </pc:sldMkLst>
        <pc:spChg chg="mod">
          <ac:chgData name="Keisi Kapaj" userId="9c79912a-7b99-418b-b6d2-cfe18f2ebb21" providerId="ADAL" clId="{2A70931E-5AE8-48F9-9F75-4E21451EC19F}" dt="2023-04-04T14:43:02.333" v="463" actId="20577"/>
          <ac:spMkLst>
            <pc:docMk/>
            <pc:sldMk cId="2223062477" sldId="389"/>
            <ac:spMk id="2" creationId="{18E6468C-D0C4-461D-A3D3-7D0CDE22F54C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3" creationId="{B4D5500A-C5A5-4D9C-BB2B-7117C6E0AF77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4" creationId="{00184E5D-0782-481B-A625-BCAE6A0081C4}"/>
          </ac:spMkLst>
        </pc:spChg>
        <pc:spChg chg="mod">
          <ac:chgData name="Keisi Kapaj" userId="9c79912a-7b99-418b-b6d2-cfe18f2ebb21" providerId="ADAL" clId="{2A70931E-5AE8-48F9-9F75-4E21451EC19F}" dt="2023-04-07T08:25:17.203" v="17969" actId="948"/>
          <ac:spMkLst>
            <pc:docMk/>
            <pc:sldMk cId="2223062477" sldId="389"/>
            <ac:spMk id="5" creationId="{4F8E4B20-E264-B8B7-1100-141ED5818BC6}"/>
          </ac:spMkLst>
        </pc:spChg>
        <pc:spChg chg="mod">
          <ac:chgData name="Keisi Kapaj" userId="9c79912a-7b99-418b-b6d2-cfe18f2ebb21" providerId="ADAL" clId="{2A70931E-5AE8-48F9-9F75-4E21451EC19F}" dt="2023-04-04T14:42:55.304" v="447"/>
          <ac:spMkLst>
            <pc:docMk/>
            <pc:sldMk cId="2223062477" sldId="389"/>
            <ac:spMk id="6" creationId="{18E6468C-D0C4-461D-A3D3-7D0CDE22F54C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7" creationId="{E8853E54-9132-D24A-2F3F-1E79B1992213}"/>
          </ac:spMkLst>
        </pc:spChg>
        <pc:spChg chg="mod">
          <ac:chgData name="Keisi Kapaj" userId="9c79912a-7b99-418b-b6d2-cfe18f2ebb21" providerId="ADAL" clId="{2A70931E-5AE8-48F9-9F75-4E21451EC19F}" dt="2023-04-04T14:43:22.128" v="468" actId="20577"/>
          <ac:spMkLst>
            <pc:docMk/>
            <pc:sldMk cId="2223062477" sldId="389"/>
            <ac:spMk id="8" creationId="{C41EC61E-26A4-424C-8C59-3FD6CA01EF14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9" creationId="{668B96FB-AA0C-166D-476F-A06A2B10033B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10" creationId="{8CAF6A42-202D-DF27-D983-C8B93083E7AF}"/>
          </ac:spMkLst>
        </pc:spChg>
        <pc:spChg chg="mod">
          <ac:chgData name="Keisi Kapaj" userId="9c79912a-7b99-418b-b6d2-cfe18f2ebb21" providerId="ADAL" clId="{2A70931E-5AE8-48F9-9F75-4E21451EC19F}" dt="2023-04-07T08:25:16.632" v="17968" actId="2711"/>
          <ac:spMkLst>
            <pc:docMk/>
            <pc:sldMk cId="2223062477" sldId="389"/>
            <ac:spMk id="11" creationId="{0E3CF444-3997-1F6A-BA6D-146CF32DCEAA}"/>
          </ac:spMkLst>
        </pc:spChg>
        <pc:grpChg chg="mod">
          <ac:chgData name="Keisi Kapaj" userId="9c79912a-7b99-418b-b6d2-cfe18f2ebb21" providerId="ADAL" clId="{2A70931E-5AE8-48F9-9F75-4E21451EC19F}" dt="2023-04-07T08:25:16.632" v="17968" actId="2711"/>
          <ac:grpSpMkLst>
            <pc:docMk/>
            <pc:sldMk cId="2223062477" sldId="389"/>
            <ac:grpSpMk id="16" creationId="{ED7352CE-AD6F-1B8D-AC84-3537A9E41A4F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5:17.225" v="17972"/>
          <ac:graphicFrameMkLst>
            <pc:docMk/>
            <pc:sldMk cId="2223062477" sldId="389"/>
            <ac:graphicFrameMk id="17" creationId="{30A614DA-4AEB-4212-B96D-DD1130FA125C}"/>
          </ac:graphicFrameMkLst>
        </pc:graphicFrameChg>
        <pc:graphicFrameChg chg="add del mod">
          <ac:chgData name="Keisi Kapaj" userId="9c79912a-7b99-418b-b6d2-cfe18f2ebb21" providerId="ADAL" clId="{2A70931E-5AE8-48F9-9F75-4E21451EC19F}" dt="2023-04-05T18:48:36.901" v="4493" actId="478"/>
          <ac:graphicFrameMkLst>
            <pc:docMk/>
            <pc:sldMk cId="2223062477" sldId="389"/>
            <ac:graphicFrameMk id="18" creationId="{F889237E-A0C5-5B7D-CD0B-FC08B20391B2}"/>
          </ac:graphicFrameMkLst>
        </pc:graphicFrameChg>
        <pc:graphicFrameChg chg="add mod">
          <ac:chgData name="Keisi Kapaj" userId="9c79912a-7b99-418b-b6d2-cfe18f2ebb21" providerId="ADAL" clId="{2A70931E-5AE8-48F9-9F75-4E21451EC19F}" dt="2023-04-07T08:25:16.632" v="17968" actId="2711"/>
          <ac:graphicFrameMkLst>
            <pc:docMk/>
            <pc:sldMk cId="2223062477" sldId="389"/>
            <ac:graphicFrameMk id="19" creationId="{F889237E-A0C5-5B7D-CD0B-FC08B20391B2}"/>
          </ac:graphicFrameMkLst>
        </pc:graphicFrameChg>
      </pc:sldChg>
      <pc:sldChg chg="modSp add del mod">
        <pc:chgData name="Keisi Kapaj" userId="9c79912a-7b99-418b-b6d2-cfe18f2ebb21" providerId="ADAL" clId="{2A70931E-5AE8-48F9-9F75-4E21451EC19F}" dt="2023-04-07T09:25:32.387" v="18315" actId="47"/>
        <pc:sldMkLst>
          <pc:docMk/>
          <pc:sldMk cId="1524766016" sldId="390"/>
        </pc:sldMkLst>
        <pc:spChg chg="mod">
          <ac:chgData name="Keisi Kapaj" userId="9c79912a-7b99-418b-b6d2-cfe18f2ebb21" providerId="ADAL" clId="{2A70931E-5AE8-48F9-9F75-4E21451EC19F}" dt="2023-04-05T19:05:38.692" v="5032"/>
          <ac:spMkLst>
            <pc:docMk/>
            <pc:sldMk cId="1524766016" sldId="390"/>
            <ac:spMk id="9" creationId="{42F83FE3-D772-17AA-502A-9074E14DB9DF}"/>
          </ac:spMkLst>
        </pc:spChg>
      </pc:sldChg>
      <pc:sldChg chg="addSp delSp modSp del mod">
        <pc:chgData name="Keisi Kapaj" userId="9c79912a-7b99-418b-b6d2-cfe18f2ebb21" providerId="ADAL" clId="{2A70931E-5AE8-48F9-9F75-4E21451EC19F}" dt="2023-04-05T19:05:21.463" v="5031" actId="2696"/>
        <pc:sldMkLst>
          <pc:docMk/>
          <pc:sldMk cId="3243739583" sldId="391"/>
        </pc:sldMkLst>
        <pc:spChg chg="mod">
          <ac:chgData name="Keisi Kapaj" userId="9c79912a-7b99-418b-b6d2-cfe18f2ebb21" providerId="ADAL" clId="{2A70931E-5AE8-48F9-9F75-4E21451EC19F}" dt="2023-04-04T14:49:23.484" v="545" actId="948"/>
          <ac:spMkLst>
            <pc:docMk/>
            <pc:sldMk cId="3243739583" sldId="391"/>
            <ac:spMk id="5" creationId="{4F8E4B20-E264-B8B7-1100-141ED5818BC6}"/>
          </ac:spMkLst>
        </pc:spChg>
        <pc:spChg chg="mod">
          <ac:chgData name="Keisi Kapaj" userId="9c79912a-7b99-418b-b6d2-cfe18f2ebb21" providerId="ADAL" clId="{2A70931E-5AE8-48F9-9F75-4E21451EC19F}" dt="2023-04-04T14:50:03.500" v="624" actId="20577"/>
          <ac:spMkLst>
            <pc:docMk/>
            <pc:sldMk cId="3243739583" sldId="391"/>
            <ac:spMk id="9" creationId="{668B96FB-AA0C-166D-476F-A06A2B10033B}"/>
          </ac:spMkLst>
        </pc:spChg>
        <pc:spChg chg="mod">
          <ac:chgData name="Keisi Kapaj" userId="9c79912a-7b99-418b-b6d2-cfe18f2ebb21" providerId="ADAL" clId="{2A70931E-5AE8-48F9-9F75-4E21451EC19F}" dt="2023-04-04T14:49:38.622" v="617" actId="20577"/>
          <ac:spMkLst>
            <pc:docMk/>
            <pc:sldMk cId="3243739583" sldId="391"/>
            <ac:spMk id="11" creationId="{0E3CF444-3997-1F6A-BA6D-146CF32DCEAA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18" creationId="{94B01D45-5482-4D5A-8982-6AB95BD20576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19" creationId="{68CB83F8-18DA-424F-98AF-75FF57217C80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20" creationId="{71B494A0-C9C7-4C57-8082-88BC4275E77F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21" creationId="{BC178E55-890B-4983-AEE4-CE6ECDF909AF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22" creationId="{79BD7E90-49D3-4A27-8CA0-DD5773D7A166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23" creationId="{44BDED5F-6C4B-480A-870E-D78AB7D0CD98}"/>
          </ac:spMkLst>
        </pc:spChg>
        <pc:spChg chg="mod">
          <ac:chgData name="Keisi Kapaj" userId="9c79912a-7b99-418b-b6d2-cfe18f2ebb21" providerId="ADAL" clId="{2A70931E-5AE8-48F9-9F75-4E21451EC19F}" dt="2023-04-04T14:48:22.095" v="535"/>
          <ac:spMkLst>
            <pc:docMk/>
            <pc:sldMk cId="3243739583" sldId="391"/>
            <ac:spMk id="24" creationId="{DA0836D8-27AD-4E45-9F11-B9123283EF52}"/>
          </ac:spMkLst>
        </pc:spChg>
        <pc:spChg chg="add del mod modVis">
          <ac:chgData name="Keisi Kapaj" userId="9c79912a-7b99-418b-b6d2-cfe18f2ebb21" providerId="ADAL" clId="{2A70931E-5AE8-48F9-9F75-4E21451EC19F}" dt="2023-04-04T14:49:23.532" v="585"/>
          <ac:spMkLst>
            <pc:docMk/>
            <pc:sldMk cId="3243739583" sldId="391"/>
            <ac:spMk id="25" creationId="{50488D1F-96E9-493E-91D9-024B7AC79F60}"/>
          </ac:spMkLst>
        </pc:spChg>
        <pc:grpChg chg="del">
          <ac:chgData name="Keisi Kapaj" userId="9c79912a-7b99-418b-b6d2-cfe18f2ebb21" providerId="ADAL" clId="{2A70931E-5AE8-48F9-9F75-4E21451EC19F}" dt="2023-04-04T14:48:26.861" v="536" actId="478"/>
          <ac:grpSpMkLst>
            <pc:docMk/>
            <pc:sldMk cId="3243739583" sldId="391"/>
            <ac:grpSpMk id="16" creationId="{71611BB1-55C8-E606-2C50-76736D4D0FB9}"/>
          </ac:grpSpMkLst>
        </pc:grpChg>
        <pc:grpChg chg="add mod">
          <ac:chgData name="Keisi Kapaj" userId="9c79912a-7b99-418b-b6d2-cfe18f2ebb21" providerId="ADAL" clId="{2A70931E-5AE8-48F9-9F75-4E21451EC19F}" dt="2023-04-05T18:57:29.107" v="4704" actId="14100"/>
          <ac:grpSpMkLst>
            <pc:docMk/>
            <pc:sldMk cId="3243739583" sldId="391"/>
            <ac:grpSpMk id="17" creationId="{70038CD6-4FFD-4D93-A97D-58F53978CFCE}"/>
          </ac:grpSpMkLst>
        </pc:grpChg>
        <pc:graphicFrameChg chg="add mod ord modVis replST">
          <ac:chgData name="Keisi Kapaj" userId="9c79912a-7b99-418b-b6d2-cfe18f2ebb21" providerId="ADAL" clId="{2A70931E-5AE8-48F9-9F75-4E21451EC19F}" dt="2023-04-04T14:49:23.576" v="601"/>
          <ac:graphicFrameMkLst>
            <pc:docMk/>
            <pc:sldMk cId="3243739583" sldId="391"/>
            <ac:graphicFrameMk id="26" creationId="{149BB6C0-6CC6-4B3F-A43D-16A5B35D5874}"/>
          </ac:graphicFrameMkLst>
        </pc:graphicFrameChg>
        <pc:picChg chg="add del mod">
          <ac:chgData name="Keisi Kapaj" userId="9c79912a-7b99-418b-b6d2-cfe18f2ebb21" providerId="ADAL" clId="{2A70931E-5AE8-48F9-9F75-4E21451EC19F}" dt="2023-04-05T18:58:41.504" v="4769" actId="21"/>
          <ac:picMkLst>
            <pc:docMk/>
            <pc:sldMk cId="3243739583" sldId="391"/>
            <ac:picMk id="25" creationId="{1786CC15-8968-4379-A969-46CCC8BF01CB}"/>
          </ac:picMkLst>
        </pc:picChg>
      </pc:sldChg>
      <pc:sldChg chg="modSp del mod">
        <pc:chgData name="Keisi Kapaj" userId="9c79912a-7b99-418b-b6d2-cfe18f2ebb21" providerId="ADAL" clId="{2A70931E-5AE8-48F9-9F75-4E21451EC19F}" dt="2023-04-07T09:26:10.446" v="18329" actId="2696"/>
        <pc:sldMkLst>
          <pc:docMk/>
          <pc:sldMk cId="235857206" sldId="392"/>
        </pc:sldMkLst>
        <pc:spChg chg="mod">
          <ac:chgData name="Keisi Kapaj" userId="9c79912a-7b99-418b-b6d2-cfe18f2ebb21" providerId="ADAL" clId="{2A70931E-5AE8-48F9-9F75-4E21451EC19F}" dt="2023-04-04T14:52:38.267" v="701"/>
          <ac:spMkLst>
            <pc:docMk/>
            <pc:sldMk cId="235857206" sldId="392"/>
            <ac:spMk id="9" creationId="{BEAC5FC3-613D-09F4-ABAD-07524CFC1BDF}"/>
          </ac:spMkLst>
        </pc:spChg>
      </pc:sldChg>
      <pc:sldChg chg="addSp delSp modSp del mod">
        <pc:chgData name="Keisi Kapaj" userId="9c79912a-7b99-418b-b6d2-cfe18f2ebb21" providerId="ADAL" clId="{2A70931E-5AE8-48F9-9F75-4E21451EC19F}" dt="2023-04-05T19:38:33.302" v="5097" actId="2696"/>
        <pc:sldMkLst>
          <pc:docMk/>
          <pc:sldMk cId="2332073998" sldId="393"/>
        </pc:sldMkLst>
        <pc:spChg chg="mod">
          <ac:chgData name="Keisi Kapaj" userId="9c79912a-7b99-418b-b6d2-cfe18f2ebb21" providerId="ADAL" clId="{2A70931E-5AE8-48F9-9F75-4E21451EC19F}" dt="2023-04-04T14:50:25.529" v="626" actId="948"/>
          <ac:spMkLst>
            <pc:docMk/>
            <pc:sldMk cId="2332073998" sldId="393"/>
            <ac:spMk id="5" creationId="{4F8E4B20-E264-B8B7-1100-141ED5818BC6}"/>
          </ac:spMkLst>
        </pc:spChg>
        <pc:spChg chg="mod">
          <ac:chgData name="Keisi Kapaj" userId="9c79912a-7b99-418b-b6d2-cfe18f2ebb21" providerId="ADAL" clId="{2A70931E-5AE8-48F9-9F75-4E21451EC19F}" dt="2023-04-04T14:51:30.397" v="700" actId="14100"/>
          <ac:spMkLst>
            <pc:docMk/>
            <pc:sldMk cId="2332073998" sldId="393"/>
            <ac:spMk id="9" creationId="{668B96FB-AA0C-166D-476F-A06A2B10033B}"/>
          </ac:spMkLst>
        </pc:spChg>
        <pc:spChg chg="mod">
          <ac:chgData name="Keisi Kapaj" userId="9c79912a-7b99-418b-b6d2-cfe18f2ebb21" providerId="ADAL" clId="{2A70931E-5AE8-48F9-9F75-4E21451EC19F}" dt="2023-04-04T14:51:22.156" v="699" actId="404"/>
          <ac:spMkLst>
            <pc:docMk/>
            <pc:sldMk cId="2332073998" sldId="393"/>
            <ac:spMk id="11" creationId="{0E3CF444-3997-1F6A-BA6D-146CF32DCEAA}"/>
          </ac:spMkLst>
        </pc:spChg>
        <pc:spChg chg="add del mod modVis">
          <ac:chgData name="Keisi Kapaj" userId="9c79912a-7b99-418b-b6d2-cfe18f2ebb21" providerId="ADAL" clId="{2A70931E-5AE8-48F9-9F75-4E21451EC19F}" dt="2023-04-04T14:50:25.584" v="666"/>
          <ac:spMkLst>
            <pc:docMk/>
            <pc:sldMk cId="2332073998" sldId="393"/>
            <ac:spMk id="17" creationId="{97970E4E-A1B7-43CD-83CB-FFDE4858E0D7}"/>
          </ac:spMkLst>
        </pc:spChg>
        <pc:graphicFrameChg chg="add mod ord modVis replST">
          <ac:chgData name="Keisi Kapaj" userId="9c79912a-7b99-418b-b6d2-cfe18f2ebb21" providerId="ADAL" clId="{2A70931E-5AE8-48F9-9F75-4E21451EC19F}" dt="2023-04-04T14:50:25.623" v="682"/>
          <ac:graphicFrameMkLst>
            <pc:docMk/>
            <pc:sldMk cId="2332073998" sldId="393"/>
            <ac:graphicFrameMk id="18" creationId="{B2D755D2-83DC-4F61-8644-23399BDF6F93}"/>
          </ac:graphicFrameMkLst>
        </pc:graphicFrameChg>
      </pc:sldChg>
      <pc:sldChg chg="modSp add del mod">
        <pc:chgData name="Keisi Kapaj" userId="9c79912a-7b99-418b-b6d2-cfe18f2ebb21" providerId="ADAL" clId="{2A70931E-5AE8-48F9-9F75-4E21451EC19F}" dt="2023-04-06T08:26:57.939" v="6081" actId="2696"/>
        <pc:sldMkLst>
          <pc:docMk/>
          <pc:sldMk cId="627937406" sldId="394"/>
        </pc:sldMkLst>
        <pc:spChg chg="mod">
          <ac:chgData name="Keisi Kapaj" userId="9c79912a-7b99-418b-b6d2-cfe18f2ebb21" providerId="ADAL" clId="{2A70931E-5AE8-48F9-9F75-4E21451EC19F}" dt="2023-04-04T14:53:25.335" v="709" actId="404"/>
          <ac:spMkLst>
            <pc:docMk/>
            <pc:sldMk cId="627937406" sldId="394"/>
            <ac:spMk id="9" creationId="{4C3353CC-BAA3-D80E-15A0-4D5A8CCD6E42}"/>
          </ac:spMkLst>
        </pc:spChg>
      </pc:sldChg>
      <pc:sldChg chg="addSp delSp modSp del mod">
        <pc:chgData name="Keisi Kapaj" userId="9c79912a-7b99-418b-b6d2-cfe18f2ebb21" providerId="ADAL" clId="{2A70931E-5AE8-48F9-9F75-4E21451EC19F}" dt="2023-04-04T14:54:38.886" v="875" actId="2696"/>
        <pc:sldMkLst>
          <pc:docMk/>
          <pc:sldMk cId="836659001" sldId="395"/>
        </pc:sldMkLst>
        <pc:spChg chg="mod">
          <ac:chgData name="Keisi Kapaj" userId="9c79912a-7b99-418b-b6d2-cfe18f2ebb21" providerId="ADAL" clId="{2A70931E-5AE8-48F9-9F75-4E21451EC19F}" dt="2023-04-04T14:53:35.218" v="769" actId="948"/>
          <ac:spMkLst>
            <pc:docMk/>
            <pc:sldMk cId="836659001" sldId="395"/>
            <ac:spMk id="5" creationId="{4F8E4B20-E264-B8B7-1100-141ED5818BC6}"/>
          </ac:spMkLst>
        </pc:spChg>
        <pc:spChg chg="add del mod modVis">
          <ac:chgData name="Keisi Kapaj" userId="9c79912a-7b99-418b-b6d2-cfe18f2ebb21" providerId="ADAL" clId="{2A70931E-5AE8-48F9-9F75-4E21451EC19F}" dt="2023-04-04T14:53:32.030" v="751"/>
          <ac:spMkLst>
            <pc:docMk/>
            <pc:sldMk cId="836659001" sldId="395"/>
            <ac:spMk id="17" creationId="{5AAD5118-8AE4-4B53-8B84-251A295FFDF2}"/>
          </ac:spMkLst>
        </pc:spChg>
        <pc:spChg chg="add del mod modVis">
          <ac:chgData name="Keisi Kapaj" userId="9c79912a-7b99-418b-b6d2-cfe18f2ebb21" providerId="ADAL" clId="{2A70931E-5AE8-48F9-9F75-4E21451EC19F}" dt="2023-04-04T14:53:35.264" v="809"/>
          <ac:spMkLst>
            <pc:docMk/>
            <pc:sldMk cId="836659001" sldId="395"/>
            <ac:spMk id="19" creationId="{B551F6CA-F725-4C8C-9E93-2AE53EBB96C3}"/>
          </ac:spMkLst>
        </pc:spChg>
        <pc:grpChg chg="del">
          <ac:chgData name="Keisi Kapaj" userId="9c79912a-7b99-418b-b6d2-cfe18f2ebb21" providerId="ADAL" clId="{2A70931E-5AE8-48F9-9F75-4E21451EC19F}" dt="2023-04-04T14:54:27.710" v="872" actId="21"/>
          <ac:grpSpMkLst>
            <pc:docMk/>
            <pc:sldMk cId="836659001" sldId="395"/>
            <ac:grpSpMk id="16" creationId="{1B39ABE5-312C-D80A-B81D-2A52E1CA0514}"/>
          </ac:grpSpMkLst>
        </pc:grpChg>
        <pc:graphicFrameChg chg="add mod ord modVis replST">
          <ac:chgData name="Keisi Kapaj" userId="9c79912a-7b99-418b-b6d2-cfe18f2ebb21" providerId="ADAL" clId="{2A70931E-5AE8-48F9-9F75-4E21451EC19F}" dt="2023-04-04T14:53:35.266" v="811"/>
          <ac:graphicFrameMkLst>
            <pc:docMk/>
            <pc:sldMk cId="836659001" sldId="395"/>
            <ac:graphicFrameMk id="18" creationId="{D6F34897-6DC1-43E0-AAF5-6B8CAD1EB511}"/>
          </ac:graphicFrameMkLst>
        </pc:graphicFrameChg>
      </pc:sldChg>
      <pc:sldChg chg="modSp del mod ord">
        <pc:chgData name="Keisi Kapaj" userId="9c79912a-7b99-418b-b6d2-cfe18f2ebb21" providerId="ADAL" clId="{2A70931E-5AE8-48F9-9F75-4E21451EC19F}" dt="2023-04-07T09:27:09.702" v="18343" actId="47"/>
        <pc:sldMkLst>
          <pc:docMk/>
          <pc:sldMk cId="249229436" sldId="396"/>
        </pc:sldMkLst>
        <pc:spChg chg="mod">
          <ac:chgData name="Keisi Kapaj" userId="9c79912a-7b99-418b-b6d2-cfe18f2ebb21" providerId="ADAL" clId="{2A70931E-5AE8-48F9-9F75-4E21451EC19F}" dt="2023-04-04T14:57:06.520" v="925" actId="403"/>
          <ac:spMkLst>
            <pc:docMk/>
            <pc:sldMk cId="249229436" sldId="396"/>
            <ac:spMk id="9" creationId="{F2530A48-DDEC-23EC-DFAF-F9E360BBEF18}"/>
          </ac:spMkLst>
        </pc:spChg>
      </pc:sldChg>
      <pc:sldChg chg="addSp delSp modSp mod">
        <pc:chgData name="Keisi Kapaj" userId="9c79912a-7b99-418b-b6d2-cfe18f2ebb21" providerId="ADAL" clId="{2A70931E-5AE8-48F9-9F75-4E21451EC19F}" dt="2023-04-07T08:23:29.979" v="17697"/>
        <pc:sldMkLst>
          <pc:docMk/>
          <pc:sldMk cId="2832500114" sldId="397"/>
        </pc:sldMkLst>
        <pc:spChg chg="mod ord">
          <ac:chgData name="Keisi Kapaj" userId="9c79912a-7b99-418b-b6d2-cfe18f2ebb21" providerId="ADAL" clId="{2A70931E-5AE8-48F9-9F75-4E21451EC19F}" dt="2023-04-07T08:23:29.917" v="17649"/>
          <ac:spMkLst>
            <pc:docMk/>
            <pc:sldMk cId="2832500114" sldId="397"/>
            <ac:spMk id="2" creationId="{C4458145-902B-6647-2475-98589DD0DD16}"/>
          </ac:spMkLst>
        </pc:spChg>
        <pc:spChg chg="add del mod modVis">
          <ac:chgData name="Keisi Kapaj" userId="9c79912a-7b99-418b-b6d2-cfe18f2ebb21" providerId="ADAL" clId="{2A70931E-5AE8-48F9-9F75-4E21451EC19F}" dt="2023-04-07T07:35:37.633" v="17405"/>
          <ac:spMkLst>
            <pc:docMk/>
            <pc:sldMk cId="2832500114" sldId="397"/>
            <ac:spMk id="3" creationId="{0796B34B-5342-4C9B-B0E4-EB8308209183}"/>
          </ac:spMkLst>
        </pc:spChg>
        <pc:spChg chg="del mod ord">
          <ac:chgData name="Keisi Kapaj" userId="9c79912a-7b99-418b-b6d2-cfe18f2ebb21" providerId="ADAL" clId="{2A70931E-5AE8-48F9-9F75-4E21451EC19F}" dt="2023-04-06T08:39:54.668" v="9839" actId="478"/>
          <ac:spMkLst>
            <pc:docMk/>
            <pc:sldMk cId="2832500114" sldId="397"/>
            <ac:spMk id="3" creationId="{5715D6C4-DAF5-5DD7-25B0-8D36A9B91869}"/>
          </ac:spMkLst>
        </pc:spChg>
        <pc:spChg chg="mod ord">
          <ac:chgData name="Keisi Kapaj" userId="9c79912a-7b99-418b-b6d2-cfe18f2ebb21" providerId="ADAL" clId="{2A70931E-5AE8-48F9-9F75-4E21451EC19F}" dt="2023-04-07T08:23:29.919" v="17651"/>
          <ac:spMkLst>
            <pc:docMk/>
            <pc:sldMk cId="2832500114" sldId="397"/>
            <ac:spMk id="4" creationId="{364965AE-AE3B-7FFE-F21B-D3AC777155A7}"/>
          </ac:spMkLst>
        </pc:spChg>
        <pc:spChg chg="mod ord">
          <ac:chgData name="Keisi Kapaj" userId="9c79912a-7b99-418b-b6d2-cfe18f2ebb21" providerId="ADAL" clId="{2A70931E-5AE8-48F9-9F75-4E21451EC19F}" dt="2023-04-07T08:23:29.920" v="17653"/>
          <ac:spMkLst>
            <pc:docMk/>
            <pc:sldMk cId="2832500114" sldId="397"/>
            <ac:spMk id="5" creationId="{627013CC-E694-3202-979C-163DF0BD45E9}"/>
          </ac:spMkLst>
        </pc:spChg>
        <pc:spChg chg="mod ord">
          <ac:chgData name="Keisi Kapaj" userId="9c79912a-7b99-418b-b6d2-cfe18f2ebb21" providerId="ADAL" clId="{2A70931E-5AE8-48F9-9F75-4E21451EC19F}" dt="2023-04-07T08:23:29.921" v="17655"/>
          <ac:spMkLst>
            <pc:docMk/>
            <pc:sldMk cId="2832500114" sldId="397"/>
            <ac:spMk id="6" creationId="{C95331AA-AB87-1281-02F9-8BCB8AE86057}"/>
          </ac:spMkLst>
        </pc:spChg>
        <pc:spChg chg="add del mod modVis">
          <ac:chgData name="Keisi Kapaj" userId="9c79912a-7b99-418b-b6d2-cfe18f2ebb21" providerId="ADAL" clId="{2A70931E-5AE8-48F9-9F75-4E21451EC19F}" dt="2023-04-07T08:23:29.957" v="17695"/>
          <ac:spMkLst>
            <pc:docMk/>
            <pc:sldMk cId="2832500114" sldId="397"/>
            <ac:spMk id="7" creationId="{A7FF23E4-C26D-482B-AECB-7E621E9689A3}"/>
          </ac:spMkLst>
        </pc:spChg>
        <pc:spChg chg="del mod ord">
          <ac:chgData name="Keisi Kapaj" userId="9c79912a-7b99-418b-b6d2-cfe18f2ebb21" providerId="ADAL" clId="{2A70931E-5AE8-48F9-9F75-4E21451EC19F}" dt="2023-04-06T08:37:36.400" v="8361" actId="478"/>
          <ac:spMkLst>
            <pc:docMk/>
            <pc:sldMk cId="2832500114" sldId="397"/>
            <ac:spMk id="7" creationId="{B34ECD34-709F-4533-A9CC-A3DD78402136}"/>
          </ac:spMkLst>
        </pc:spChg>
        <pc:spChg chg="mod ord">
          <ac:chgData name="Keisi Kapaj" userId="9c79912a-7b99-418b-b6d2-cfe18f2ebb21" providerId="ADAL" clId="{2A70931E-5AE8-48F9-9F75-4E21451EC19F}" dt="2023-04-07T08:23:29.923" v="17657"/>
          <ac:spMkLst>
            <pc:docMk/>
            <pc:sldMk cId="2832500114" sldId="397"/>
            <ac:spMk id="8" creationId="{9F73E1ED-B582-2E9B-8753-F85F971459D5}"/>
          </ac:spMkLst>
        </pc:spChg>
        <pc:spChg chg="add del mod modVis">
          <ac:chgData name="Keisi Kapaj" userId="9c79912a-7b99-418b-b6d2-cfe18f2ebb21" providerId="ADAL" clId="{2A70931E-5AE8-48F9-9F75-4E21451EC19F}" dt="2023-04-06T08:36:34.901" v="6601"/>
          <ac:spMkLst>
            <pc:docMk/>
            <pc:sldMk cId="2832500114" sldId="397"/>
            <ac:spMk id="9" creationId="{5477B432-DBAB-44B8-B686-462C55649C22}"/>
          </ac:spMkLst>
        </pc:spChg>
        <pc:spChg chg="add del mod modVis">
          <ac:chgData name="Keisi Kapaj" userId="9c79912a-7b99-418b-b6d2-cfe18f2ebb21" providerId="ADAL" clId="{2A70931E-5AE8-48F9-9F75-4E21451EC19F}" dt="2023-04-04T14:58:07.329" v="972"/>
          <ac:spMkLst>
            <pc:docMk/>
            <pc:sldMk cId="2832500114" sldId="397"/>
            <ac:spMk id="9" creationId="{F3F95268-0A47-4623-B299-F5E1E9D05146}"/>
          </ac:spMkLst>
        </pc:spChg>
        <pc:spChg chg="add del mod modVis">
          <ac:chgData name="Keisi Kapaj" userId="9c79912a-7b99-418b-b6d2-cfe18f2ebb21" providerId="ADAL" clId="{2A70931E-5AE8-48F9-9F75-4E21451EC19F}" dt="2023-04-06T08:36:48.157" v="7058"/>
          <ac:spMkLst>
            <pc:docMk/>
            <pc:sldMk cId="2832500114" sldId="397"/>
            <ac:spMk id="11" creationId="{FAC1BBF6-3A92-4289-8D91-4061AC861D3D}"/>
          </ac:spMkLst>
        </pc:spChg>
        <pc:spChg chg="add del mod modVis">
          <ac:chgData name="Keisi Kapaj" userId="9c79912a-7b99-418b-b6d2-cfe18f2ebb21" providerId="ADAL" clId="{2A70931E-5AE8-48F9-9F75-4E21451EC19F}" dt="2023-04-06T08:39:08.292" v="9254"/>
          <ac:spMkLst>
            <pc:docMk/>
            <pc:sldMk cId="2832500114" sldId="397"/>
            <ac:spMk id="16" creationId="{223BB665-5ABA-45EC-BF68-3E1983111689}"/>
          </ac:spMkLst>
        </pc:spChg>
        <pc:spChg chg="add del mod replST">
          <ac:chgData name="Keisi Kapaj" userId="9c79912a-7b99-418b-b6d2-cfe18f2ebb21" providerId="ADAL" clId="{2A70931E-5AE8-48F9-9F75-4E21451EC19F}" dt="2023-04-06T08:38:20.903" v="8915"/>
          <ac:spMkLst>
            <pc:docMk/>
            <pc:sldMk cId="2832500114" sldId="397"/>
            <ac:spMk id="25" creationId="{CF43E365-832B-4F6D-9ABD-89AD58A4E1AE}"/>
          </ac:spMkLst>
        </pc:spChg>
        <pc:spChg chg="add mod replST">
          <ac:chgData name="Keisi Kapaj" userId="9c79912a-7b99-418b-b6d2-cfe18f2ebb21" providerId="ADAL" clId="{2A70931E-5AE8-48F9-9F75-4E21451EC19F}" dt="2023-04-07T08:23:29.930" v="17662"/>
          <ac:spMkLst>
            <pc:docMk/>
            <pc:sldMk cId="2832500114" sldId="397"/>
            <ac:spMk id="26" creationId="{CF43E365-832B-4F6D-9ABD-89AD58A4E1AE}"/>
          </ac:spMkLst>
        </pc:spChg>
        <pc:spChg chg="add del mod replST">
          <ac:chgData name="Keisi Kapaj" userId="9c79912a-7b99-418b-b6d2-cfe18f2ebb21" providerId="ADAL" clId="{2A70931E-5AE8-48F9-9F75-4E21451EC19F}" dt="2023-04-06T08:37:58.956" v="8695"/>
          <ac:spMkLst>
            <pc:docMk/>
            <pc:sldMk cId="2832500114" sldId="397"/>
            <ac:spMk id="27" creationId="{CF43E365-832B-4F6D-9ABD-89AD58A4E1AE}"/>
          </ac:spMkLst>
        </pc:spChg>
        <pc:spChg chg="add del mod ord replST">
          <ac:chgData name="Keisi Kapaj" userId="9c79912a-7b99-418b-b6d2-cfe18f2ebb21" providerId="ADAL" clId="{2A70931E-5AE8-48F9-9F75-4E21451EC19F}" dt="2023-04-06T08:37:20.998" v="8086"/>
          <ac:spMkLst>
            <pc:docMk/>
            <pc:sldMk cId="2832500114" sldId="397"/>
            <ac:spMk id="28" creationId="{CF43E365-832B-4F6D-9ABD-89AD58A4E1AE}"/>
          </ac:spMkLst>
        </pc:spChg>
        <pc:spChg chg="add mod replST">
          <ac:chgData name="Keisi Kapaj" userId="9c79912a-7b99-418b-b6d2-cfe18f2ebb21" providerId="ADAL" clId="{2A70931E-5AE8-48F9-9F75-4E21451EC19F}" dt="2023-04-07T08:23:29.929" v="17661"/>
          <ac:spMkLst>
            <pc:docMk/>
            <pc:sldMk cId="2832500114" sldId="397"/>
            <ac:spMk id="29" creationId="{CF43E365-832B-4F6D-9ABD-89AD58A4E1AE}"/>
          </ac:spMkLst>
        </pc:spChg>
        <pc:spChg chg="add del mod ord replST">
          <ac:chgData name="Keisi Kapaj" userId="9c79912a-7b99-418b-b6d2-cfe18f2ebb21" providerId="ADAL" clId="{2A70931E-5AE8-48F9-9F75-4E21451EC19F}" dt="2023-04-06T08:37:56.605" v="8639"/>
          <ac:spMkLst>
            <pc:docMk/>
            <pc:sldMk cId="2832500114" sldId="397"/>
            <ac:spMk id="30" creationId="{CF43E365-832B-4F6D-9ABD-89AD58A4E1AE}"/>
          </ac:spMkLst>
        </pc:spChg>
        <pc:spChg chg="add mod ord replST">
          <ac:chgData name="Keisi Kapaj" userId="9c79912a-7b99-418b-b6d2-cfe18f2ebb21" providerId="ADAL" clId="{2A70931E-5AE8-48F9-9F75-4E21451EC19F}" dt="2023-04-07T08:23:29.933" v="17666"/>
          <ac:spMkLst>
            <pc:docMk/>
            <pc:sldMk cId="2832500114" sldId="397"/>
            <ac:spMk id="32" creationId="{AC78B48C-6EA5-411F-BBAD-27C767C420B3}"/>
          </ac:spMkLst>
        </pc:spChg>
        <pc:spChg chg="add mod replST">
          <ac:chgData name="Keisi Kapaj" userId="9c79912a-7b99-418b-b6d2-cfe18f2ebb21" providerId="ADAL" clId="{2A70931E-5AE8-48F9-9F75-4E21451EC19F}" dt="2023-04-07T08:23:29.934" v="17667"/>
          <ac:spMkLst>
            <pc:docMk/>
            <pc:sldMk cId="2832500114" sldId="397"/>
            <ac:spMk id="33" creationId="{47F0A9F4-9021-4891-9B52-239DFB8E1E67}"/>
          </ac:spMkLst>
        </pc:spChg>
        <pc:spChg chg="add mod ord replST">
          <ac:chgData name="Keisi Kapaj" userId="9c79912a-7b99-418b-b6d2-cfe18f2ebb21" providerId="ADAL" clId="{2A70931E-5AE8-48F9-9F75-4E21451EC19F}" dt="2023-04-07T08:23:29.932" v="17664"/>
          <ac:spMkLst>
            <pc:docMk/>
            <pc:sldMk cId="2832500114" sldId="397"/>
            <ac:spMk id="34" creationId="{E4560B72-2F83-4B4C-878B-5572DD41B6E1}"/>
          </ac:spMkLst>
        </pc:spChg>
        <pc:spChg chg="add mod replST">
          <ac:chgData name="Keisi Kapaj" userId="9c79912a-7b99-418b-b6d2-cfe18f2ebb21" providerId="ADAL" clId="{2A70931E-5AE8-48F9-9F75-4E21451EC19F}" dt="2023-04-07T08:23:29.935" v="17668"/>
          <ac:spMkLst>
            <pc:docMk/>
            <pc:sldMk cId="2832500114" sldId="397"/>
            <ac:spMk id="35" creationId="{5C9FA962-9B30-4360-9B90-AADA836D8682}"/>
          </ac:spMkLst>
        </pc:spChg>
        <pc:spChg chg="add del mod ord replST">
          <ac:chgData name="Keisi Kapaj" userId="9c79912a-7b99-418b-b6d2-cfe18f2ebb21" providerId="ADAL" clId="{2A70931E-5AE8-48F9-9F75-4E21451EC19F}" dt="2023-04-06T08:37:18.047" v="7872"/>
          <ac:spMkLst>
            <pc:docMk/>
            <pc:sldMk cId="2832500114" sldId="397"/>
            <ac:spMk id="36" creationId="{CD64334A-42AF-41F1-ADF7-008D3F67DD01}"/>
          </ac:spMkLst>
        </pc:spChg>
        <pc:spChg chg="add del mod replST">
          <ac:chgData name="Keisi Kapaj" userId="9c79912a-7b99-418b-b6d2-cfe18f2ebb21" providerId="ADAL" clId="{2A70931E-5AE8-48F9-9F75-4E21451EC19F}" dt="2023-04-06T08:38:18.308" v="8864"/>
          <ac:spMkLst>
            <pc:docMk/>
            <pc:sldMk cId="2832500114" sldId="397"/>
            <ac:spMk id="37" creationId="{ED4461A8-6B01-426E-A21F-93768083A539}"/>
          </ac:spMkLst>
        </pc:spChg>
        <pc:spChg chg="add del mod ord replST">
          <ac:chgData name="Keisi Kapaj" userId="9c79912a-7b99-418b-b6d2-cfe18f2ebb21" providerId="ADAL" clId="{2A70931E-5AE8-48F9-9F75-4E21451EC19F}" dt="2023-04-06T08:37:12.541" v="7589"/>
          <ac:spMkLst>
            <pc:docMk/>
            <pc:sldMk cId="2832500114" sldId="397"/>
            <ac:spMk id="38" creationId="{4E51DCB5-BB65-4A96-838A-55FABA5F6A52}"/>
          </ac:spMkLst>
        </pc:spChg>
        <pc:spChg chg="add del mod replST">
          <ac:chgData name="Keisi Kapaj" userId="9c79912a-7b99-418b-b6d2-cfe18f2ebb21" providerId="ADAL" clId="{2A70931E-5AE8-48F9-9F75-4E21451EC19F}" dt="2023-04-06T08:38:05.781" v="8755"/>
          <ac:spMkLst>
            <pc:docMk/>
            <pc:sldMk cId="2832500114" sldId="397"/>
            <ac:spMk id="39" creationId="{CE97DA07-C343-4337-8907-496D807781B1}"/>
          </ac:spMkLst>
        </pc:spChg>
        <pc:spChg chg="add del mod ord replST">
          <ac:chgData name="Keisi Kapaj" userId="9c79912a-7b99-418b-b6d2-cfe18f2ebb21" providerId="ADAL" clId="{2A70931E-5AE8-48F9-9F75-4E21451EC19F}" dt="2023-04-06T08:37:04.852" v="7298"/>
          <ac:spMkLst>
            <pc:docMk/>
            <pc:sldMk cId="2832500114" sldId="397"/>
            <ac:spMk id="40" creationId="{DF49A619-8397-4805-A4C9-57394AB036EF}"/>
          </ac:spMkLst>
        </pc:spChg>
        <pc:spChg chg="add del mod replST">
          <ac:chgData name="Keisi Kapaj" userId="9c79912a-7b99-418b-b6d2-cfe18f2ebb21" providerId="ADAL" clId="{2A70931E-5AE8-48F9-9F75-4E21451EC19F}" dt="2023-04-06T08:38:07.656" v="8818"/>
          <ac:spMkLst>
            <pc:docMk/>
            <pc:sldMk cId="2832500114" sldId="397"/>
            <ac:spMk id="41" creationId="{20EF700A-DEB7-4BB2-A373-6239D885037E}"/>
          </ac:spMkLst>
        </pc:spChg>
        <pc:spChg chg="add del mod modVis">
          <ac:chgData name="Keisi Kapaj" userId="9c79912a-7b99-418b-b6d2-cfe18f2ebb21" providerId="ADAL" clId="{2A70931E-5AE8-48F9-9F75-4E21451EC19F}" dt="2023-04-06T08:39:09.258" v="9378"/>
          <ac:spMkLst>
            <pc:docMk/>
            <pc:sldMk cId="2832500114" sldId="397"/>
            <ac:spMk id="73" creationId="{D8FAD18D-6932-4108-8B42-12B7530C830F}"/>
          </ac:spMkLst>
        </pc:spChg>
        <pc:spChg chg="add del mod modVis">
          <ac:chgData name="Keisi Kapaj" userId="9c79912a-7b99-418b-b6d2-cfe18f2ebb21" providerId="ADAL" clId="{2A70931E-5AE8-48F9-9F75-4E21451EC19F}" dt="2023-04-06T08:39:10.323" v="9502"/>
          <ac:spMkLst>
            <pc:docMk/>
            <pc:sldMk cId="2832500114" sldId="397"/>
            <ac:spMk id="75" creationId="{44162F41-65B9-49E6-829F-18ED680E4B7A}"/>
          </ac:spMkLst>
        </pc:spChg>
        <pc:spChg chg="add del mod modVis">
          <ac:chgData name="Keisi Kapaj" userId="9c79912a-7b99-418b-b6d2-cfe18f2ebb21" providerId="ADAL" clId="{2A70931E-5AE8-48F9-9F75-4E21451EC19F}" dt="2023-04-06T08:39:10.683" v="9626"/>
          <ac:spMkLst>
            <pc:docMk/>
            <pc:sldMk cId="2832500114" sldId="397"/>
            <ac:spMk id="77" creationId="{0AC836BC-310E-427D-885E-166EBC19A46A}"/>
          </ac:spMkLst>
        </pc:spChg>
        <pc:spChg chg="add del mod modVis">
          <ac:chgData name="Keisi Kapaj" userId="9c79912a-7b99-418b-b6d2-cfe18f2ebb21" providerId="ADAL" clId="{2A70931E-5AE8-48F9-9F75-4E21451EC19F}" dt="2023-04-06T08:39:11.271" v="9750"/>
          <ac:spMkLst>
            <pc:docMk/>
            <pc:sldMk cId="2832500114" sldId="397"/>
            <ac:spMk id="79" creationId="{CAFE5AD6-4609-413B-B854-540F73C7C8D0}"/>
          </ac:spMkLst>
        </pc:spChg>
        <pc:spChg chg="add del mod replST">
          <ac:chgData name="Keisi Kapaj" userId="9c79912a-7b99-418b-b6d2-cfe18f2ebb21" providerId="ADAL" clId="{2A70931E-5AE8-48F9-9F75-4E21451EC19F}" dt="2023-04-06T08:45:05.853" v="11289"/>
          <ac:spMkLst>
            <pc:docMk/>
            <pc:sldMk cId="2832500114" sldId="397"/>
            <ac:spMk id="87" creationId="{7A6A1AD4-E28C-4148-8D02-CA4D4A678C11}"/>
          </ac:spMkLst>
        </pc:spChg>
        <pc:spChg chg="add del mod ord replST">
          <ac:chgData name="Keisi Kapaj" userId="9c79912a-7b99-418b-b6d2-cfe18f2ebb21" providerId="ADAL" clId="{2A70931E-5AE8-48F9-9F75-4E21451EC19F}" dt="2023-04-06T08:45:05.855" v="11291"/>
          <ac:spMkLst>
            <pc:docMk/>
            <pc:sldMk cId="2832500114" sldId="397"/>
            <ac:spMk id="88" creationId="{09103E18-D649-47F4-8662-D7F02344363F}"/>
          </ac:spMkLst>
        </pc:spChg>
        <pc:spChg chg="add del mod ord replST">
          <ac:chgData name="Keisi Kapaj" userId="9c79912a-7b99-418b-b6d2-cfe18f2ebb21" providerId="ADAL" clId="{2A70931E-5AE8-48F9-9F75-4E21451EC19F}" dt="2023-04-06T08:45:05.853" v="11288"/>
          <ac:spMkLst>
            <pc:docMk/>
            <pc:sldMk cId="2832500114" sldId="397"/>
            <ac:spMk id="89" creationId="{28147B81-9A21-4E2B-A397-FEFEB41EEC50}"/>
          </ac:spMkLst>
        </pc:spChg>
        <pc:spChg chg="add del mod replST">
          <ac:chgData name="Keisi Kapaj" userId="9c79912a-7b99-418b-b6d2-cfe18f2ebb21" providerId="ADAL" clId="{2A70931E-5AE8-48F9-9F75-4E21451EC19F}" dt="2023-04-06T08:45:05.851" v="11286"/>
          <ac:spMkLst>
            <pc:docMk/>
            <pc:sldMk cId="2832500114" sldId="397"/>
            <ac:spMk id="90" creationId="{FE895A68-B856-4210-BE0C-7227B271404E}"/>
          </ac:spMkLst>
        </pc:spChg>
        <pc:spChg chg="add del mod ord replST">
          <ac:chgData name="Keisi Kapaj" userId="9c79912a-7b99-418b-b6d2-cfe18f2ebb21" providerId="ADAL" clId="{2A70931E-5AE8-48F9-9F75-4E21451EC19F}" dt="2023-04-06T08:45:05.850" v="11285"/>
          <ac:spMkLst>
            <pc:docMk/>
            <pc:sldMk cId="2832500114" sldId="397"/>
            <ac:spMk id="91" creationId="{4954BA2F-E471-436F-9D18-0B47BA1D8DF2}"/>
          </ac:spMkLst>
        </pc:spChg>
        <pc:spChg chg="add del mod replST">
          <ac:chgData name="Keisi Kapaj" userId="9c79912a-7b99-418b-b6d2-cfe18f2ebb21" providerId="ADAL" clId="{2A70931E-5AE8-48F9-9F75-4E21451EC19F}" dt="2023-04-06T08:45:05.847" v="11284"/>
          <ac:spMkLst>
            <pc:docMk/>
            <pc:sldMk cId="2832500114" sldId="397"/>
            <ac:spMk id="92" creationId="{5C0B5FA8-7AB8-4917-86F6-EDB698F65D66}"/>
          </ac:spMkLst>
        </pc:spChg>
        <pc:spChg chg="add del mod modVis">
          <ac:chgData name="Keisi Kapaj" userId="9c79912a-7b99-418b-b6d2-cfe18f2ebb21" providerId="ADAL" clId="{2A70931E-5AE8-48F9-9F75-4E21451EC19F}" dt="2023-04-06T08:41:54.646" v="10229"/>
          <ac:spMkLst>
            <pc:docMk/>
            <pc:sldMk cId="2832500114" sldId="397"/>
            <ac:spMk id="94" creationId="{29086BDB-B8B9-4A39-BFDB-6FD44FD5A76A}"/>
          </ac:spMkLst>
        </pc:spChg>
        <pc:spChg chg="add del mod modVis">
          <ac:chgData name="Keisi Kapaj" userId="9c79912a-7b99-418b-b6d2-cfe18f2ebb21" providerId="ADAL" clId="{2A70931E-5AE8-48F9-9F75-4E21451EC19F}" dt="2023-04-06T08:42:26.034" v="10419"/>
          <ac:spMkLst>
            <pc:docMk/>
            <pc:sldMk cId="2832500114" sldId="397"/>
            <ac:spMk id="96" creationId="{511F595C-EDCB-4BF5-AAF1-91CD2C5548EA}"/>
          </ac:spMkLst>
        </pc:spChg>
        <pc:spChg chg="add del mod modVis">
          <ac:chgData name="Keisi Kapaj" userId="9c79912a-7b99-418b-b6d2-cfe18f2ebb21" providerId="ADAL" clId="{2A70931E-5AE8-48F9-9F75-4E21451EC19F}" dt="2023-04-06T08:43:35.841" v="10697"/>
          <ac:spMkLst>
            <pc:docMk/>
            <pc:sldMk cId="2832500114" sldId="397"/>
            <ac:spMk id="100" creationId="{77B22826-A916-486A-AD8A-6E124544D559}"/>
          </ac:spMkLst>
        </pc:spChg>
        <pc:spChg chg="add del mod modVis">
          <ac:chgData name="Keisi Kapaj" userId="9c79912a-7b99-418b-b6d2-cfe18f2ebb21" providerId="ADAL" clId="{2A70931E-5AE8-48F9-9F75-4E21451EC19F}" dt="2023-04-06T08:45:17.328" v="11855"/>
          <ac:spMkLst>
            <pc:docMk/>
            <pc:sldMk cId="2832500114" sldId="397"/>
            <ac:spMk id="116" creationId="{5ED04BE1-1B98-4BD2-A8E9-6EEA4DA4B92F}"/>
          </ac:spMkLst>
        </pc:spChg>
        <pc:spChg chg="add del mod replST">
          <ac:chgData name="Keisi Kapaj" userId="9c79912a-7b99-418b-b6d2-cfe18f2ebb21" providerId="ADAL" clId="{2A70931E-5AE8-48F9-9F75-4E21451EC19F}" dt="2023-04-06T08:46:23.164" v="12740"/>
          <ac:spMkLst>
            <pc:docMk/>
            <pc:sldMk cId="2832500114" sldId="397"/>
            <ac:spMk id="117" creationId="{CF43E365-832B-4F6D-9ABD-89AD58A4E1AE}"/>
          </ac:spMkLst>
        </pc:spChg>
        <pc:spChg chg="add mod replST">
          <ac:chgData name="Keisi Kapaj" userId="9c79912a-7b99-418b-b6d2-cfe18f2ebb21" providerId="ADAL" clId="{2A70931E-5AE8-48F9-9F75-4E21451EC19F}" dt="2023-04-07T08:23:29.940" v="17674"/>
          <ac:spMkLst>
            <pc:docMk/>
            <pc:sldMk cId="2832500114" sldId="397"/>
            <ac:spMk id="118" creationId="{CF43E365-832B-4F6D-9ABD-89AD58A4E1AE}"/>
          </ac:spMkLst>
        </pc:spChg>
        <pc:spChg chg="add mod replST">
          <ac:chgData name="Keisi Kapaj" userId="9c79912a-7b99-418b-b6d2-cfe18f2ebb21" providerId="ADAL" clId="{2A70931E-5AE8-48F9-9F75-4E21451EC19F}" dt="2023-04-07T08:23:29.942" v="17677"/>
          <ac:spMkLst>
            <pc:docMk/>
            <pc:sldMk cId="2832500114" sldId="397"/>
            <ac:spMk id="119" creationId="{CF43E365-832B-4F6D-9ABD-89AD58A4E1AE}"/>
          </ac:spMkLst>
        </pc:spChg>
        <pc:spChg chg="add del mod ord replST">
          <ac:chgData name="Keisi Kapaj" userId="9c79912a-7b99-418b-b6d2-cfe18f2ebb21" providerId="ADAL" clId="{2A70931E-5AE8-48F9-9F75-4E21451EC19F}" dt="2023-04-06T08:46:23.130" v="12726"/>
          <ac:spMkLst>
            <pc:docMk/>
            <pc:sldMk cId="2832500114" sldId="397"/>
            <ac:spMk id="120" creationId="{CF43E365-832B-4F6D-9ABD-89AD58A4E1AE}"/>
          </ac:spMkLst>
        </pc:spChg>
        <pc:spChg chg="add mod ord replST">
          <ac:chgData name="Keisi Kapaj" userId="9c79912a-7b99-418b-b6d2-cfe18f2ebb21" providerId="ADAL" clId="{2A70931E-5AE8-48F9-9F75-4E21451EC19F}" dt="2023-04-07T08:23:29.937" v="17671"/>
          <ac:spMkLst>
            <pc:docMk/>
            <pc:sldMk cId="2832500114" sldId="397"/>
            <ac:spMk id="121" creationId="{CF43E365-832B-4F6D-9ABD-89AD58A4E1AE}"/>
          </ac:spMkLst>
        </pc:spChg>
        <pc:spChg chg="add mod replST">
          <ac:chgData name="Keisi Kapaj" userId="9c79912a-7b99-418b-b6d2-cfe18f2ebb21" providerId="ADAL" clId="{2A70931E-5AE8-48F9-9F75-4E21451EC19F}" dt="2023-04-07T08:23:29.939" v="17673"/>
          <ac:spMkLst>
            <pc:docMk/>
            <pc:sldMk cId="2832500114" sldId="397"/>
            <ac:spMk id="122" creationId="{CF43E365-832B-4F6D-9ABD-89AD58A4E1AE}"/>
          </ac:spMkLst>
        </pc:spChg>
        <pc:spChg chg="add mod ord replST">
          <ac:chgData name="Keisi Kapaj" userId="9c79912a-7b99-418b-b6d2-cfe18f2ebb21" providerId="ADAL" clId="{2A70931E-5AE8-48F9-9F75-4E21451EC19F}" dt="2023-04-07T08:23:29.944" v="17679"/>
          <ac:spMkLst>
            <pc:docMk/>
            <pc:sldMk cId="2832500114" sldId="397"/>
            <ac:spMk id="124" creationId="{6BB28FB1-2B1E-4E0E-BEC1-AF49276BC014}"/>
          </ac:spMkLst>
        </pc:spChg>
        <pc:spChg chg="add mod replST">
          <ac:chgData name="Keisi Kapaj" userId="9c79912a-7b99-418b-b6d2-cfe18f2ebb21" providerId="ADAL" clId="{2A70931E-5AE8-48F9-9F75-4E21451EC19F}" dt="2023-04-07T08:23:29.938" v="17672"/>
          <ac:spMkLst>
            <pc:docMk/>
            <pc:sldMk cId="2832500114" sldId="397"/>
            <ac:spMk id="125" creationId="{06E31967-1001-4878-90A9-D55D35C1F660}"/>
          </ac:spMkLst>
        </pc:spChg>
        <pc:spChg chg="add mod replST">
          <ac:chgData name="Keisi Kapaj" userId="9c79912a-7b99-418b-b6d2-cfe18f2ebb21" providerId="ADAL" clId="{2A70931E-5AE8-48F9-9F75-4E21451EC19F}" dt="2023-04-07T08:23:29.944" v="17680"/>
          <ac:spMkLst>
            <pc:docMk/>
            <pc:sldMk cId="2832500114" sldId="397"/>
            <ac:spMk id="126" creationId="{15B45718-E824-4A44-8ADA-D0BE0A63E62A}"/>
          </ac:spMkLst>
        </pc:spChg>
        <pc:spChg chg="add mod replST">
          <ac:chgData name="Keisi Kapaj" userId="9c79912a-7b99-418b-b6d2-cfe18f2ebb21" providerId="ADAL" clId="{2A70931E-5AE8-48F9-9F75-4E21451EC19F}" dt="2023-04-07T08:23:29.946" v="17681"/>
          <ac:spMkLst>
            <pc:docMk/>
            <pc:sldMk cId="2832500114" sldId="397"/>
            <ac:spMk id="127" creationId="{85C3D5F4-73F4-4C7C-9C12-795F15DE2AD4}"/>
          </ac:spMkLst>
        </pc:spChg>
        <pc:spChg chg="add mod ord replST">
          <ac:chgData name="Keisi Kapaj" userId="9c79912a-7b99-418b-b6d2-cfe18f2ebb21" providerId="ADAL" clId="{2A70931E-5AE8-48F9-9F75-4E21451EC19F}" dt="2023-04-07T08:23:29.941" v="17676"/>
          <ac:spMkLst>
            <pc:docMk/>
            <pc:sldMk cId="2832500114" sldId="397"/>
            <ac:spMk id="128" creationId="{4222D40D-8E1B-4749-BEE0-52A1233E5D88}"/>
          </ac:spMkLst>
        </pc:spChg>
        <pc:spChg chg="add mod replST">
          <ac:chgData name="Keisi Kapaj" userId="9c79912a-7b99-418b-b6d2-cfe18f2ebb21" providerId="ADAL" clId="{2A70931E-5AE8-48F9-9F75-4E21451EC19F}" dt="2023-04-07T08:23:29.948" v="17684"/>
          <ac:spMkLst>
            <pc:docMk/>
            <pc:sldMk cId="2832500114" sldId="397"/>
            <ac:spMk id="129" creationId="{AE5A27FE-07B8-4662-96D3-2D5CE04135B0}"/>
          </ac:spMkLst>
        </pc:spChg>
        <pc:spChg chg="add mod ord replST">
          <ac:chgData name="Keisi Kapaj" userId="9c79912a-7b99-418b-b6d2-cfe18f2ebb21" providerId="ADAL" clId="{2A70931E-5AE8-48F9-9F75-4E21451EC19F}" dt="2023-04-07T08:23:29.947" v="17683"/>
          <ac:spMkLst>
            <pc:docMk/>
            <pc:sldMk cId="2832500114" sldId="397"/>
            <ac:spMk id="130" creationId="{6A0A2557-6FE2-4EE7-A590-0B8EB8AF4F34}"/>
          </ac:spMkLst>
        </pc:spChg>
        <pc:spChg chg="add mod replST">
          <ac:chgData name="Keisi Kapaj" userId="9c79912a-7b99-418b-b6d2-cfe18f2ebb21" providerId="ADAL" clId="{2A70931E-5AE8-48F9-9F75-4E21451EC19F}" dt="2023-04-07T08:23:29.950" v="17685"/>
          <ac:spMkLst>
            <pc:docMk/>
            <pc:sldMk cId="2832500114" sldId="397"/>
            <ac:spMk id="131" creationId="{E6F220E4-574B-4D3E-B7F0-57CE8E52E5C3}"/>
          </ac:spMkLst>
        </pc:spChg>
        <pc:spChg chg="add mod ord replST">
          <ac:chgData name="Keisi Kapaj" userId="9c79912a-7b99-418b-b6d2-cfe18f2ebb21" providerId="ADAL" clId="{2A70931E-5AE8-48F9-9F75-4E21451EC19F}" dt="2023-04-07T08:23:29.952" v="17687"/>
          <ac:spMkLst>
            <pc:docMk/>
            <pc:sldMk cId="2832500114" sldId="397"/>
            <ac:spMk id="132" creationId="{4CBDA4F7-4A7B-4D4B-93E2-1AB496A0963E}"/>
          </ac:spMkLst>
        </pc:spChg>
        <pc:spChg chg="add mod replST">
          <ac:chgData name="Keisi Kapaj" userId="9c79912a-7b99-418b-b6d2-cfe18f2ebb21" providerId="ADAL" clId="{2A70931E-5AE8-48F9-9F75-4E21451EC19F}" dt="2023-04-07T08:23:29.953" v="17688"/>
          <ac:spMkLst>
            <pc:docMk/>
            <pc:sldMk cId="2832500114" sldId="397"/>
            <ac:spMk id="133" creationId="{7B58BE44-A0BB-427B-8BAD-3C33AF6973B2}"/>
          </ac:spMkLst>
        </pc:spChg>
        <pc:spChg chg="add del mod modVis">
          <ac:chgData name="Keisi Kapaj" userId="9c79912a-7b99-418b-b6d2-cfe18f2ebb21" providerId="ADAL" clId="{2A70931E-5AE8-48F9-9F75-4E21451EC19F}" dt="2023-04-06T08:45:23.024" v="12274"/>
          <ac:spMkLst>
            <pc:docMk/>
            <pc:sldMk cId="2832500114" sldId="397"/>
            <ac:spMk id="134" creationId="{B2806AB9-D648-49A2-A014-A8F4F9739820}"/>
          </ac:spMkLst>
        </pc:spChg>
        <pc:spChg chg="add del mod modVis">
          <ac:chgData name="Keisi Kapaj" userId="9c79912a-7b99-418b-b6d2-cfe18f2ebb21" providerId="ADAL" clId="{2A70931E-5AE8-48F9-9F75-4E21451EC19F}" dt="2023-04-06T08:48:58.996" v="13686"/>
          <ac:spMkLst>
            <pc:docMk/>
            <pc:sldMk cId="2832500114" sldId="397"/>
            <ac:spMk id="155" creationId="{0512EC2D-70EA-4F47-B501-D2FA31997632}"/>
          </ac:spMkLst>
        </pc:spChg>
        <pc:spChg chg="add del mod modVis">
          <ac:chgData name="Keisi Kapaj" userId="9c79912a-7b99-418b-b6d2-cfe18f2ebb21" providerId="ADAL" clId="{2A70931E-5AE8-48F9-9F75-4E21451EC19F}" dt="2023-04-06T08:49:00.096" v="13907"/>
          <ac:spMkLst>
            <pc:docMk/>
            <pc:sldMk cId="2832500114" sldId="397"/>
            <ac:spMk id="157" creationId="{27EC61C4-E949-46DE-BB9C-479415BA68BB}"/>
          </ac:spMkLst>
        </pc:spChg>
        <pc:spChg chg="add del mod modVis">
          <ac:chgData name="Keisi Kapaj" userId="9c79912a-7b99-418b-b6d2-cfe18f2ebb21" providerId="ADAL" clId="{2A70931E-5AE8-48F9-9F75-4E21451EC19F}" dt="2023-04-06T08:49:01.248" v="14128"/>
          <ac:spMkLst>
            <pc:docMk/>
            <pc:sldMk cId="2832500114" sldId="397"/>
            <ac:spMk id="159" creationId="{1460C061-BE11-4A40-B539-3B4146DFC148}"/>
          </ac:spMkLst>
        </pc:spChg>
        <pc:spChg chg="add del mod modVis">
          <ac:chgData name="Keisi Kapaj" userId="9c79912a-7b99-418b-b6d2-cfe18f2ebb21" providerId="ADAL" clId="{2A70931E-5AE8-48F9-9F75-4E21451EC19F}" dt="2023-04-06T08:49:02.138" v="14353"/>
          <ac:spMkLst>
            <pc:docMk/>
            <pc:sldMk cId="2832500114" sldId="397"/>
            <ac:spMk id="161" creationId="{F376D826-ACF4-4BE3-8146-90ACE4FA24EF}"/>
          </ac:spMkLst>
        </pc:spChg>
        <pc:spChg chg="add del mod modVis">
          <ac:chgData name="Keisi Kapaj" userId="9c79912a-7b99-418b-b6d2-cfe18f2ebb21" providerId="ADAL" clId="{2A70931E-5AE8-48F9-9F75-4E21451EC19F}" dt="2023-04-06T08:49:03.828" v="14579"/>
          <ac:spMkLst>
            <pc:docMk/>
            <pc:sldMk cId="2832500114" sldId="397"/>
            <ac:spMk id="163" creationId="{2866A456-40CF-4AAF-B7BD-9E6E091D28A6}"/>
          </ac:spMkLst>
        </pc:spChg>
        <pc:spChg chg="add mod ord">
          <ac:chgData name="Keisi Kapaj" userId="9c79912a-7b99-418b-b6d2-cfe18f2ebb21" providerId="ADAL" clId="{2A70931E-5AE8-48F9-9F75-4E21451EC19F}" dt="2023-04-07T08:23:29.954" v="17690"/>
          <ac:spMkLst>
            <pc:docMk/>
            <pc:sldMk cId="2832500114" sldId="397"/>
            <ac:spMk id="169" creationId="{2000BDF8-422B-47C9-A5D9-0B120F62E0FD}"/>
          </ac:spMkLst>
        </pc:spChg>
        <pc:spChg chg="add mod ord">
          <ac:chgData name="Keisi Kapaj" userId="9c79912a-7b99-418b-b6d2-cfe18f2ebb21" providerId="ADAL" clId="{2A70931E-5AE8-48F9-9F75-4E21451EC19F}" dt="2023-04-07T08:23:29.955" v="17692"/>
          <ac:spMkLst>
            <pc:docMk/>
            <pc:sldMk cId="2832500114" sldId="397"/>
            <ac:spMk id="170" creationId="{D6A47ED9-B7A7-421A-9A2A-E4E812B43F44}"/>
          </ac:spMkLst>
        </pc:spChg>
        <pc:grpChg chg="mod ord">
          <ac:chgData name="Keisi Kapaj" userId="9c79912a-7b99-418b-b6d2-cfe18f2ebb21" providerId="ADAL" clId="{2A70931E-5AE8-48F9-9F75-4E21451EC19F}" dt="2023-04-07T08:23:29.925" v="17659"/>
          <ac:grpSpMkLst>
            <pc:docMk/>
            <pc:sldMk cId="2832500114" sldId="397"/>
            <ac:grpSpMk id="24" creationId="{01A86A12-69EE-76AF-0263-042465E4130B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3:29.979" v="17697"/>
          <ac:graphicFrameMkLst>
            <pc:docMk/>
            <pc:sldMk cId="2832500114" sldId="397"/>
            <ac:graphicFrameMk id="10" creationId="{135F040B-0A84-49D3-ACD4-D7FE8FBD572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6:48.069" v="7003"/>
          <ac:graphicFrameMkLst>
            <pc:docMk/>
            <pc:sldMk cId="2832500114" sldId="397"/>
            <ac:graphicFrameMk id="31" creationId="{E45E0962-06AB-4FBA-AA91-5FB734C1F7F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7T08:23:29.862" v="17641"/>
          <ac:graphicFrameMkLst>
            <pc:docMk/>
            <pc:sldMk cId="2832500114" sldId="397"/>
            <ac:graphicFrameMk id="41" creationId="{6F950B0D-8334-471E-8D65-D455F84A7F78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6:58.478" v="7079"/>
          <ac:graphicFrameMkLst>
            <pc:docMk/>
            <pc:sldMk cId="2832500114" sldId="397"/>
            <ac:graphicFrameMk id="42" creationId="{6D4C2E8B-7130-4CA4-8776-8DF95C4B569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01.300" v="7153"/>
          <ac:graphicFrameMkLst>
            <pc:docMk/>
            <pc:sldMk cId="2832500114" sldId="397"/>
            <ac:graphicFrameMk id="43" creationId="{68F5F8F7-CDC8-45D5-A95E-8D4ED05ADB77}"/>
          </ac:graphicFrameMkLst>
        </pc:graphicFrameChg>
        <pc:graphicFrameChg chg="add mod replST">
          <ac:chgData name="Keisi Kapaj" userId="9c79912a-7b99-418b-b6d2-cfe18f2ebb21" providerId="ADAL" clId="{2A70931E-5AE8-48F9-9F75-4E21451EC19F}" dt="2023-04-07T08:23:29.927" v="17660"/>
          <ac:graphicFrameMkLst>
            <pc:docMk/>
            <pc:sldMk cId="2832500114" sldId="397"/>
            <ac:graphicFrameMk id="43" creationId="{832CC5B4-33CC-474E-AE01-722D6FCB3642}"/>
          </ac:graphicFrameMkLst>
        </pc:graphicFrameChg>
        <pc:graphicFrameChg chg="add mod replST">
          <ac:chgData name="Keisi Kapaj" userId="9c79912a-7b99-418b-b6d2-cfe18f2ebb21" providerId="ADAL" clId="{2A70931E-5AE8-48F9-9F75-4E21451EC19F}" dt="2023-04-07T08:23:29.935" v="17669"/>
          <ac:graphicFrameMkLst>
            <pc:docMk/>
            <pc:sldMk cId="2832500114" sldId="397"/>
            <ac:graphicFrameMk id="44" creationId="{229A486A-49F2-41C0-9542-A2B6CBB1186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02.568" v="7232"/>
          <ac:graphicFrameMkLst>
            <pc:docMk/>
            <pc:sldMk cId="2832500114" sldId="397"/>
            <ac:graphicFrameMk id="44" creationId="{A57E62ED-0616-4688-AE1E-1AF1D4601F20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04.880" v="7308"/>
          <ac:graphicFrameMkLst>
            <pc:docMk/>
            <pc:sldMk cId="2832500114" sldId="397"/>
            <ac:graphicFrameMk id="45" creationId="{65DF046D-FFC6-4C9E-A3B5-8EA28DDB005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07.619" v="7379"/>
          <ac:graphicFrameMkLst>
            <pc:docMk/>
            <pc:sldMk cId="2832500114" sldId="397"/>
            <ac:graphicFrameMk id="46" creationId="{2257BFAE-982F-4812-B16A-114B9ABB532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09.631" v="7450"/>
          <ac:graphicFrameMkLst>
            <pc:docMk/>
            <pc:sldMk cId="2832500114" sldId="397"/>
            <ac:graphicFrameMk id="47" creationId="{E481D395-15F9-419B-97CE-A2BA88777F4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1.630" v="7526"/>
          <ac:graphicFrameMkLst>
            <pc:docMk/>
            <pc:sldMk cId="2832500114" sldId="397"/>
            <ac:graphicFrameMk id="48" creationId="{88030634-F16F-44A3-B4FD-820C4B29926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2.566" v="7599"/>
          <ac:graphicFrameMkLst>
            <pc:docMk/>
            <pc:sldMk cId="2832500114" sldId="397"/>
            <ac:graphicFrameMk id="49" creationId="{11F891C6-FBDE-414D-ADA0-F40788EFC3C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4.877" v="7667"/>
          <ac:graphicFrameMkLst>
            <pc:docMk/>
            <pc:sldMk cId="2832500114" sldId="397"/>
            <ac:graphicFrameMk id="50" creationId="{FB7DB8EF-5DE7-4DE7-96AA-254F3B23C30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5.716" v="7735"/>
          <ac:graphicFrameMkLst>
            <pc:docMk/>
            <pc:sldMk cId="2832500114" sldId="397"/>
            <ac:graphicFrameMk id="51" creationId="{37912284-6A37-40C4-859C-937E1B4D530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6.878" v="7812"/>
          <ac:graphicFrameMkLst>
            <pc:docMk/>
            <pc:sldMk cId="2832500114" sldId="397"/>
            <ac:graphicFrameMk id="52" creationId="{FC47DFE0-7C88-484D-A60D-BD7FCBA5DC0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8.070" v="7882"/>
          <ac:graphicFrameMkLst>
            <pc:docMk/>
            <pc:sldMk cId="2832500114" sldId="397"/>
            <ac:graphicFrameMk id="53" creationId="{034B1DB5-48B2-4C9F-AF27-AE2F11B6F4E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18.832" v="7947"/>
          <ac:graphicFrameMkLst>
            <pc:docMk/>
            <pc:sldMk cId="2832500114" sldId="397"/>
            <ac:graphicFrameMk id="54" creationId="{7A0CE272-7B8D-43B2-AE5E-D5E5BDA678C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20.144" v="8033"/>
          <ac:graphicFrameMkLst>
            <pc:docMk/>
            <pc:sldMk cId="2832500114" sldId="397"/>
            <ac:graphicFrameMk id="55" creationId="{3A7757E9-1F2E-4BAC-B070-F6EDD795834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21.029" v="8100"/>
          <ac:graphicFrameMkLst>
            <pc:docMk/>
            <pc:sldMk cId="2832500114" sldId="397"/>
            <ac:graphicFrameMk id="56" creationId="{E43564D5-1EB9-43D4-8977-F8FCA97A8328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29.484" v="8167"/>
          <ac:graphicFrameMkLst>
            <pc:docMk/>
            <pc:sldMk cId="2832500114" sldId="397"/>
            <ac:graphicFrameMk id="57" creationId="{63E4F0C3-92E1-4127-974D-887B52827F5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33.700" v="8313"/>
          <ac:graphicFrameMkLst>
            <pc:docMk/>
            <pc:sldMk cId="2832500114" sldId="397"/>
            <ac:graphicFrameMk id="58" creationId="{1F5EAA79-5C43-4A9F-954E-3E38DAD9B4D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38.080" v="8460"/>
          <ac:graphicFrameMkLst>
            <pc:docMk/>
            <pc:sldMk cId="2832500114" sldId="397"/>
            <ac:graphicFrameMk id="59" creationId="{89B91494-5889-4D70-824B-4AD236B870A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53.375" v="8520"/>
          <ac:graphicFrameMkLst>
            <pc:docMk/>
            <pc:sldMk cId="2832500114" sldId="397"/>
            <ac:graphicFrameMk id="60" creationId="{481251CC-FDEB-489D-9BB6-CDACC5B676E8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54.886" v="8589"/>
          <ac:graphicFrameMkLst>
            <pc:docMk/>
            <pc:sldMk cId="2832500114" sldId="397"/>
            <ac:graphicFrameMk id="61" creationId="{C99E9D84-0788-44DF-AACD-6D2C5744763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56.628" v="8651"/>
          <ac:graphicFrameMkLst>
            <pc:docMk/>
            <pc:sldMk cId="2832500114" sldId="397"/>
            <ac:graphicFrameMk id="62" creationId="{A1ED167D-367B-4533-80C5-5209155F5D2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7:58.984" v="8708"/>
          <ac:graphicFrameMkLst>
            <pc:docMk/>
            <pc:sldMk cId="2832500114" sldId="397"/>
            <ac:graphicFrameMk id="63" creationId="{245F446E-E99D-4D78-AC85-1FA18E258EDC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05.837" v="8784"/>
          <ac:graphicFrameMkLst>
            <pc:docMk/>
            <pc:sldMk cId="2832500114" sldId="397"/>
            <ac:graphicFrameMk id="64" creationId="{8AB4438A-D0CD-4E3F-97BB-B93183B5ECD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07.709" v="8831"/>
          <ac:graphicFrameMkLst>
            <pc:docMk/>
            <pc:sldMk cId="2832500114" sldId="397"/>
            <ac:graphicFrameMk id="65" creationId="{1E98452C-C4A5-4604-9FD3-D707C17F869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18.356" v="8883"/>
          <ac:graphicFrameMkLst>
            <pc:docMk/>
            <pc:sldMk cId="2832500114" sldId="397"/>
            <ac:graphicFrameMk id="66" creationId="{BEDAC1AE-793F-4CB4-B606-3CEA2A25088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20.932" v="8924"/>
          <ac:graphicFrameMkLst>
            <pc:docMk/>
            <pc:sldMk cId="2832500114" sldId="397"/>
            <ac:graphicFrameMk id="67" creationId="{5A78B111-87D1-4E00-9889-1547DEAD8C41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30.451" v="8987"/>
          <ac:graphicFrameMkLst>
            <pc:docMk/>
            <pc:sldMk cId="2832500114" sldId="397"/>
            <ac:graphicFrameMk id="68" creationId="{8F11823D-2740-451F-A03F-0C9550C31A7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32.764" v="9038"/>
          <ac:graphicFrameMkLst>
            <pc:docMk/>
            <pc:sldMk cId="2832500114" sldId="397"/>
            <ac:graphicFrameMk id="69" creationId="{FD3A40BC-382C-4C73-A3BF-1E72E601D7C1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8:36.809" v="9102"/>
          <ac:graphicFrameMkLst>
            <pc:docMk/>
            <pc:sldMk cId="2832500114" sldId="397"/>
            <ac:graphicFrameMk id="70" creationId="{49B31123-3664-4032-8F40-D1470AF4003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08.243" v="9224"/>
          <ac:graphicFrameMkLst>
            <pc:docMk/>
            <pc:sldMk cId="2832500114" sldId="397"/>
            <ac:graphicFrameMk id="71" creationId="{33DE82D5-1B64-47ED-BCAC-9CD00CFF4E1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09.203" v="9348"/>
          <ac:graphicFrameMkLst>
            <pc:docMk/>
            <pc:sldMk cId="2832500114" sldId="397"/>
            <ac:graphicFrameMk id="72" creationId="{2C5142CF-6FEF-47B4-8018-5A29C28C58A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10.265" v="9472"/>
          <ac:graphicFrameMkLst>
            <pc:docMk/>
            <pc:sldMk cId="2832500114" sldId="397"/>
            <ac:graphicFrameMk id="74" creationId="{0DB0401D-B7C1-4BC1-BF5A-5ADD025E33FC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10.617" v="9596"/>
          <ac:graphicFrameMkLst>
            <pc:docMk/>
            <pc:sldMk cId="2832500114" sldId="397"/>
            <ac:graphicFrameMk id="76" creationId="{81BC9A18-A68D-4256-B7D1-5BBCC025CC01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11.198" v="9720"/>
          <ac:graphicFrameMkLst>
            <pc:docMk/>
            <pc:sldMk cId="2832500114" sldId="397"/>
            <ac:graphicFrameMk id="78" creationId="{2389CEC1-D973-40A4-98A2-B59F14220E9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18.198" v="9761"/>
          <ac:graphicFrameMkLst>
            <pc:docMk/>
            <pc:sldMk cId="2832500114" sldId="397"/>
            <ac:graphicFrameMk id="80" creationId="{4B06E9AB-84AF-487E-980C-B907C9148AC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38.303" v="9806"/>
          <ac:graphicFrameMkLst>
            <pc:docMk/>
            <pc:sldMk cId="2832500114" sldId="397"/>
            <ac:graphicFrameMk id="81" creationId="{EE438863-6568-42D0-A487-862B32E805F1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39:59.128" v="9880"/>
          <ac:graphicFrameMkLst>
            <pc:docMk/>
            <pc:sldMk cId="2832500114" sldId="397"/>
            <ac:graphicFrameMk id="82" creationId="{67B090D6-74F1-4867-B334-9997B89DF74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0:01.958" v="9935"/>
          <ac:graphicFrameMkLst>
            <pc:docMk/>
            <pc:sldMk cId="2832500114" sldId="397"/>
            <ac:graphicFrameMk id="83" creationId="{DC875885-76D5-4D82-8F00-335C590CCF0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0:04.182" v="9990"/>
          <ac:graphicFrameMkLst>
            <pc:docMk/>
            <pc:sldMk cId="2832500114" sldId="397"/>
            <ac:graphicFrameMk id="84" creationId="{3248050A-D73B-49E6-944B-8367D4430670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1:54.409" v="10097"/>
          <ac:graphicFrameMkLst>
            <pc:docMk/>
            <pc:sldMk cId="2832500114" sldId="397"/>
            <ac:graphicFrameMk id="85" creationId="{165EA799-F1E0-48C9-B698-05671F46367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1:54.605" v="10190"/>
          <ac:graphicFrameMkLst>
            <pc:docMk/>
            <pc:sldMk cId="2832500114" sldId="397"/>
            <ac:graphicFrameMk id="86" creationId="{1483667F-4201-4F85-B7E6-6F20252A95B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2:37.628" v="10434"/>
          <ac:graphicFrameMkLst>
            <pc:docMk/>
            <pc:sldMk cId="2832500114" sldId="397"/>
            <ac:graphicFrameMk id="93" creationId="{41282626-6DBA-4E5F-8E32-703C3E365FF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2:25.977" v="10380"/>
          <ac:graphicFrameMkLst>
            <pc:docMk/>
            <pc:sldMk cId="2832500114" sldId="397"/>
            <ac:graphicFrameMk id="95" creationId="{49972504-761E-45F8-B259-60A6146F5291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2:37.696" v="10464"/>
          <ac:graphicFrameMkLst>
            <pc:docMk/>
            <pc:sldMk cId="2832500114" sldId="397"/>
            <ac:graphicFrameMk id="97" creationId="{18F734C9-C606-4A4A-8183-6682993E353C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32.607" v="11244"/>
          <ac:graphicFrameMkLst>
            <pc:docMk/>
            <pc:sldMk cId="2832500114" sldId="397"/>
            <ac:graphicFrameMk id="98" creationId="{DB14888B-8AF7-4403-A0A3-7C4C3E7F767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3:35.770" v="10658"/>
          <ac:graphicFrameMkLst>
            <pc:docMk/>
            <pc:sldMk cId="2832500114" sldId="397"/>
            <ac:graphicFrameMk id="99" creationId="{C0657D41-3AE9-4D7E-B451-EC7AF6FF73B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3:56.650" v="10712"/>
          <ac:graphicFrameMkLst>
            <pc:docMk/>
            <pc:sldMk cId="2832500114" sldId="397"/>
            <ac:graphicFrameMk id="101" creationId="{0496E127-1602-412B-A888-3BD787A4A82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00.213" v="10760"/>
          <ac:graphicFrameMkLst>
            <pc:docMk/>
            <pc:sldMk cId="2832500114" sldId="397"/>
            <ac:graphicFrameMk id="102" creationId="{EAB484F1-FEB9-4314-A782-A22F1D42BD8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04.010" v="10808"/>
          <ac:graphicFrameMkLst>
            <pc:docMk/>
            <pc:sldMk cId="2832500114" sldId="397"/>
            <ac:graphicFrameMk id="103" creationId="{A999240C-707F-4873-BEB3-0DE41E2F353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08.910" v="10856"/>
          <ac:graphicFrameMkLst>
            <pc:docMk/>
            <pc:sldMk cId="2832500114" sldId="397"/>
            <ac:graphicFrameMk id="104" creationId="{5BE6BCCB-E2D2-4265-8E88-7BC796BE8D0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11.768" v="10904"/>
          <ac:graphicFrameMkLst>
            <pc:docMk/>
            <pc:sldMk cId="2832500114" sldId="397"/>
            <ac:graphicFrameMk id="105" creationId="{BFF8C106-A8CE-4794-A721-125661B7783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14.106" v="10952"/>
          <ac:graphicFrameMkLst>
            <pc:docMk/>
            <pc:sldMk cId="2832500114" sldId="397"/>
            <ac:graphicFrameMk id="106" creationId="{2CC7B91E-3538-4DF1-8E5F-661B8197983D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16.181" v="11000"/>
          <ac:graphicFrameMkLst>
            <pc:docMk/>
            <pc:sldMk cId="2832500114" sldId="397"/>
            <ac:graphicFrameMk id="107" creationId="{31289270-AC77-4C92-9724-012CA628E78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17.291" v="11048"/>
          <ac:graphicFrameMkLst>
            <pc:docMk/>
            <pc:sldMk cId="2832500114" sldId="397"/>
            <ac:graphicFrameMk id="108" creationId="{08032CC0-4A0B-4A64-BA96-D5EFF77833F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19.564" v="11096"/>
          <ac:graphicFrameMkLst>
            <pc:docMk/>
            <pc:sldMk cId="2832500114" sldId="397"/>
            <ac:graphicFrameMk id="109" creationId="{15C9C98F-DA4F-41A9-AE65-79A8513856C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21.296" v="11144"/>
          <ac:graphicFrameMkLst>
            <pc:docMk/>
            <pc:sldMk cId="2832500114" sldId="397"/>
            <ac:graphicFrameMk id="110" creationId="{2CE6E27D-074E-415F-963E-B49AB1C40E6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4:22.788" v="11192"/>
          <ac:graphicFrameMkLst>
            <pc:docMk/>
            <pc:sldMk cId="2832500114" sldId="397"/>
            <ac:graphicFrameMk id="111" creationId="{A9BF80BD-04F9-44C4-A3B7-EF8CE1644A8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05.856" v="11293"/>
          <ac:graphicFrameMkLst>
            <pc:docMk/>
            <pc:sldMk cId="2832500114" sldId="397"/>
            <ac:graphicFrameMk id="112" creationId="{29EED2FB-2944-4B5B-A4B9-4403B517C5A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05.887" v="11302"/>
          <ac:graphicFrameMkLst>
            <pc:docMk/>
            <pc:sldMk cId="2832500114" sldId="397"/>
            <ac:graphicFrameMk id="113" creationId="{F540A9DD-23F4-443F-AB2B-AB292BD1056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15.446" v="11341"/>
          <ac:graphicFrameMkLst>
            <pc:docMk/>
            <pc:sldMk cId="2832500114" sldId="397"/>
            <ac:graphicFrameMk id="114" creationId="{1A547E17-FABF-4C80-A989-CBB4F35993A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26.845" v="12286"/>
          <ac:graphicFrameMkLst>
            <pc:docMk/>
            <pc:sldMk cId="2832500114" sldId="397"/>
            <ac:graphicFrameMk id="115" creationId="{B0F4F121-A2EB-4F5D-8AF4-AB64B130488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22.959" v="12220"/>
          <ac:graphicFrameMkLst>
            <pc:docMk/>
            <pc:sldMk cId="2832500114" sldId="397"/>
            <ac:graphicFrameMk id="123" creationId="{D8A168D3-45F4-4CD6-A9E2-D20FED7CF8C6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26.970" v="12402"/>
          <ac:graphicFrameMkLst>
            <pc:docMk/>
            <pc:sldMk cId="2832500114" sldId="397"/>
            <ac:graphicFrameMk id="137" creationId="{504EDDAE-EA0A-4D22-ADB8-7EE0D216DC8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54.089" v="12465"/>
          <ac:graphicFrameMkLst>
            <pc:docMk/>
            <pc:sldMk cId="2832500114" sldId="397"/>
            <ac:graphicFrameMk id="138" creationId="{C1F98ED5-EC48-4DE3-ACE9-2C253BA51E90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54.156" v="12535"/>
          <ac:graphicFrameMkLst>
            <pc:docMk/>
            <pc:sldMk cId="2832500114" sldId="397"/>
            <ac:graphicFrameMk id="139" creationId="{38841FD3-0EB9-40AA-A9C0-05A3A0EDD645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57.846" v="12598"/>
          <ac:graphicFrameMkLst>
            <pc:docMk/>
            <pc:sldMk cId="2832500114" sldId="397"/>
            <ac:graphicFrameMk id="140" creationId="{9F509ECA-6054-4611-9541-D24A2FA391F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5:58.048" v="12668"/>
          <ac:graphicFrameMkLst>
            <pc:docMk/>
            <pc:sldMk cId="2832500114" sldId="397"/>
            <ac:graphicFrameMk id="141" creationId="{92E233F7-1538-4EF8-A1AC-300113AB840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8:17.030" v="13363"/>
          <ac:graphicFrameMkLst>
            <pc:docMk/>
            <pc:sldMk cId="2832500114" sldId="397"/>
            <ac:graphicFrameMk id="142" creationId="{D4486DEA-3F60-46E9-AB4F-E31C1B445FA2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6:23.228" v="12779"/>
          <ac:graphicFrameMkLst>
            <pc:docMk/>
            <pc:sldMk cId="2832500114" sldId="397"/>
            <ac:graphicFrameMk id="143" creationId="{9234382C-352C-42ED-8DE9-AAC20D0DA6A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6:28.153" v="12843"/>
          <ac:graphicFrameMkLst>
            <pc:docMk/>
            <pc:sldMk cId="2832500114" sldId="397"/>
            <ac:graphicFrameMk id="144" creationId="{5828A037-D5C5-40D5-A79A-97FEFCF867A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6:52.934" v="12908"/>
          <ac:graphicFrameMkLst>
            <pc:docMk/>
            <pc:sldMk cId="2832500114" sldId="397"/>
            <ac:graphicFrameMk id="145" creationId="{2C4EEC17-7220-48EE-86FA-BDCC499C102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6:58.564" v="12973"/>
          <ac:graphicFrameMkLst>
            <pc:docMk/>
            <pc:sldMk cId="2832500114" sldId="397"/>
            <ac:graphicFrameMk id="146" creationId="{95E18AC6-E1E7-44DF-B5C1-95B840624D25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7:04.580" v="13038"/>
          <ac:graphicFrameMkLst>
            <pc:docMk/>
            <pc:sldMk cId="2832500114" sldId="397"/>
            <ac:graphicFrameMk id="147" creationId="{9B700233-E2D7-421C-B724-74E16BA87F0C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7:09.538" v="13104"/>
          <ac:graphicFrameMkLst>
            <pc:docMk/>
            <pc:sldMk cId="2832500114" sldId="397"/>
            <ac:graphicFrameMk id="148" creationId="{06977D12-319C-4623-906E-5196E9418C9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7:28.927" v="13169"/>
          <ac:graphicFrameMkLst>
            <pc:docMk/>
            <pc:sldMk cId="2832500114" sldId="397"/>
            <ac:graphicFrameMk id="149" creationId="{A9D151B5-6229-4A09-B880-8D041C5C4DA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7:53.102" v="13236"/>
          <ac:graphicFrameMkLst>
            <pc:docMk/>
            <pc:sldMk cId="2832500114" sldId="397"/>
            <ac:graphicFrameMk id="150" creationId="{30B5D3E9-E9A3-43C4-8D12-19BE69247C75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8:01.699" v="13304"/>
          <ac:graphicFrameMkLst>
            <pc:docMk/>
            <pc:sldMk cId="2832500114" sldId="397"/>
            <ac:graphicFrameMk id="151" creationId="{E18927AC-BB0B-45DC-8732-0BD85BDBB15B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8:58.942" v="13639"/>
          <ac:graphicFrameMkLst>
            <pc:docMk/>
            <pc:sldMk cId="2832500114" sldId="397"/>
            <ac:graphicFrameMk id="152" creationId="{AE8BBF2C-8745-4FFD-B365-C26440CFB5D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8:22.884" v="13420"/>
          <ac:graphicFrameMkLst>
            <pc:docMk/>
            <pc:sldMk cId="2832500114" sldId="397"/>
            <ac:graphicFrameMk id="153" creationId="{F77845EC-0310-4D1D-A1BC-A1EC619EDC4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10.448" v="14590"/>
          <ac:graphicFrameMkLst>
            <pc:docMk/>
            <pc:sldMk cId="2832500114" sldId="397"/>
            <ac:graphicFrameMk id="154" creationId="{5A222636-F7C3-4B03-8457-CB710E58137A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00.034" v="13860"/>
          <ac:graphicFrameMkLst>
            <pc:docMk/>
            <pc:sldMk cId="2832500114" sldId="397"/>
            <ac:graphicFrameMk id="156" creationId="{B05FF417-F0B8-4EDD-9F6E-B1DA3AAE44C9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01.192" v="14081"/>
          <ac:graphicFrameMkLst>
            <pc:docMk/>
            <pc:sldMk cId="2832500114" sldId="397"/>
            <ac:graphicFrameMk id="158" creationId="{C87108B1-6533-4EEF-9B71-E8789E906DD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02.069" v="14305"/>
          <ac:graphicFrameMkLst>
            <pc:docMk/>
            <pc:sldMk cId="2832500114" sldId="397"/>
            <ac:graphicFrameMk id="160" creationId="{C4E099DE-E341-43FA-AE22-39BC40575FB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03.751" v="14531"/>
          <ac:graphicFrameMkLst>
            <pc:docMk/>
            <pc:sldMk cId="2832500114" sldId="397"/>
            <ac:graphicFrameMk id="162" creationId="{13BDB44F-05F7-41EF-9590-D0FC4897E06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10.553" v="14646"/>
          <ac:graphicFrameMkLst>
            <pc:docMk/>
            <pc:sldMk cId="2832500114" sldId="397"/>
            <ac:graphicFrameMk id="164" creationId="{80E9C72B-B0BB-4EF2-917B-69971AE040E0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13.057" v="14719"/>
          <ac:graphicFrameMkLst>
            <pc:docMk/>
            <pc:sldMk cId="2832500114" sldId="397"/>
            <ac:graphicFrameMk id="165" creationId="{E9CB2E20-9A28-4FE6-B4BC-060835C1DB5F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08:49:13.115" v="14741"/>
          <ac:graphicFrameMkLst>
            <pc:docMk/>
            <pc:sldMk cId="2832500114" sldId="397"/>
            <ac:graphicFrameMk id="166" creationId="{6450CC57-6C7F-41EE-9CC8-2EE90F5ABB5E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10:00:33.198" v="15153"/>
          <ac:graphicFrameMkLst>
            <pc:docMk/>
            <pc:sldMk cId="2832500114" sldId="397"/>
            <ac:graphicFrameMk id="167" creationId="{1E966DBD-C1A6-4411-BAA8-E2DDB5347623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6T10:00:33.326" v="15181"/>
          <ac:graphicFrameMkLst>
            <pc:docMk/>
            <pc:sldMk cId="2832500114" sldId="397"/>
            <ac:graphicFrameMk id="168" creationId="{C851900E-25CA-4388-BD20-B22FE5E954C4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7T08:23:29.732" v="17619"/>
          <ac:graphicFrameMkLst>
            <pc:docMk/>
            <pc:sldMk cId="2832500114" sldId="397"/>
            <ac:graphicFrameMk id="171" creationId="{2C7E221D-C43C-4E5B-9861-808C36B0CA27}"/>
          </ac:graphicFrameMkLst>
        </pc:graphicFrameChg>
        <pc:graphicFrameChg chg="add del mod replST">
          <ac:chgData name="Keisi Kapaj" userId="9c79912a-7b99-418b-b6d2-cfe18f2ebb21" providerId="ADAL" clId="{2A70931E-5AE8-48F9-9F75-4E21451EC19F}" dt="2023-04-07T07:35:37.500" v="17351"/>
          <ac:graphicFrameMkLst>
            <pc:docMk/>
            <pc:sldMk cId="2832500114" sldId="397"/>
            <ac:graphicFrameMk id="172" creationId="{FC4609D5-1466-41AC-BCE7-B865BB68FB29}"/>
          </ac:graphicFrameMkLst>
        </pc:graphicFrameChg>
        <pc:cxnChg chg="add del mod ord replST">
          <ac:chgData name="Keisi Kapaj" userId="9c79912a-7b99-418b-b6d2-cfe18f2ebb21" providerId="ADAL" clId="{2A70931E-5AE8-48F9-9F75-4E21451EC19F}" dt="2023-04-06T08:38:05.780" v="8754"/>
          <ac:cxnSpMkLst>
            <pc:docMk/>
            <pc:sldMk cId="2832500114" sldId="397"/>
            <ac:cxnSpMk id="12" creationId="{A09AEACC-C6B5-4AC3-B592-8A1D591E3F07}"/>
          </ac:cxnSpMkLst>
        </pc:cxnChg>
        <pc:cxnChg chg="add del mod ord replST">
          <ac:chgData name="Keisi Kapaj" userId="9c79912a-7b99-418b-b6d2-cfe18f2ebb21" providerId="ADAL" clId="{2A70931E-5AE8-48F9-9F75-4E21451EC19F}" dt="2023-04-06T08:38:05.778" v="8752"/>
          <ac:cxnSpMkLst>
            <pc:docMk/>
            <pc:sldMk cId="2832500114" sldId="397"/>
            <ac:cxnSpMk id="13" creationId="{31E58A09-52B4-4BB4-9746-5EF6EC6A04EF}"/>
          </ac:cxnSpMkLst>
        </pc:cxnChg>
        <pc:cxnChg chg="add del mod ord replST">
          <ac:chgData name="Keisi Kapaj" userId="9c79912a-7b99-418b-b6d2-cfe18f2ebb21" providerId="ADAL" clId="{2A70931E-5AE8-48F9-9F75-4E21451EC19F}" dt="2023-04-06T08:38:05.834" v="8782"/>
          <ac:cxnSpMkLst>
            <pc:docMk/>
            <pc:sldMk cId="2832500114" sldId="397"/>
            <ac:cxnSpMk id="14" creationId="{8AAAB5D7-EE60-4371-AC29-C6AAC2B31BCA}"/>
          </ac:cxnSpMkLst>
        </pc:cxnChg>
        <pc:cxnChg chg="add del mod ord replST">
          <ac:chgData name="Keisi Kapaj" userId="9c79912a-7b99-418b-b6d2-cfe18f2ebb21" providerId="ADAL" clId="{2A70931E-5AE8-48F9-9F75-4E21451EC19F}" dt="2023-04-06T08:38:05.832" v="8780"/>
          <ac:cxnSpMkLst>
            <pc:docMk/>
            <pc:sldMk cId="2832500114" sldId="397"/>
            <ac:cxnSpMk id="15" creationId="{57D89510-BE6F-46FA-8590-0DBB6A2A0B59}"/>
          </ac:cxnSpMkLst>
        </pc:cxnChg>
        <pc:cxnChg chg="add del mod ord replST">
          <ac:chgData name="Keisi Kapaj" userId="9c79912a-7b99-418b-b6d2-cfe18f2ebb21" providerId="ADAL" clId="{2A70931E-5AE8-48F9-9F75-4E21451EC19F}" dt="2023-04-06T08:46:23.163" v="12739"/>
          <ac:cxnSpMkLst>
            <pc:docMk/>
            <pc:sldMk cId="2832500114" sldId="397"/>
            <ac:cxnSpMk id="135" creationId="{43399C4D-D27F-4B92-BB24-D7F02EEECF2B}"/>
          </ac:cxnSpMkLst>
        </pc:cxnChg>
        <pc:cxnChg chg="add del mod ord replST">
          <ac:chgData name="Keisi Kapaj" userId="9c79912a-7b99-418b-b6d2-cfe18f2ebb21" providerId="ADAL" clId="{2A70931E-5AE8-48F9-9F75-4E21451EC19F}" dt="2023-04-06T08:46:23.162" v="12737"/>
          <ac:cxnSpMkLst>
            <pc:docMk/>
            <pc:sldMk cId="2832500114" sldId="397"/>
            <ac:cxnSpMk id="136" creationId="{40E798D8-1A69-4434-87C4-85DE1CB35A56}"/>
          </ac:cxnSpMkLst>
        </pc:cxnChg>
      </pc:sldChg>
      <pc:sldChg chg="addSp delSp modSp new add del mod">
        <pc:chgData name="Keisi Kapaj" userId="9c79912a-7b99-418b-b6d2-cfe18f2ebb21" providerId="ADAL" clId="{2A70931E-5AE8-48F9-9F75-4E21451EC19F}" dt="2023-04-06T08:27:00.883" v="6082" actId="2696"/>
        <pc:sldMkLst>
          <pc:docMk/>
          <pc:sldMk cId="2075860265" sldId="398"/>
        </pc:sldMkLst>
        <pc:spChg chg="mod">
          <ac:chgData name="Keisi Kapaj" userId="9c79912a-7b99-418b-b6d2-cfe18f2ebb21" providerId="ADAL" clId="{2A70931E-5AE8-48F9-9F75-4E21451EC19F}" dt="2023-04-04T14:54:17.267" v="815" actId="948"/>
          <ac:spMkLst>
            <pc:docMk/>
            <pc:sldMk cId="2075860265" sldId="398"/>
            <ac:spMk id="2" creationId="{08244933-F8D9-4D07-83E3-A90E383E0CBB}"/>
          </ac:spMkLst>
        </pc:spChg>
        <pc:spChg chg="mod">
          <ac:chgData name="Keisi Kapaj" userId="9c79912a-7b99-418b-b6d2-cfe18f2ebb21" providerId="ADAL" clId="{2A70931E-5AE8-48F9-9F75-4E21451EC19F}" dt="2023-04-04T14:56:10.233" v="917" actId="14100"/>
          <ac:spMkLst>
            <pc:docMk/>
            <pc:sldMk cId="2075860265" sldId="398"/>
            <ac:spMk id="6" creationId="{43687931-8826-4579-9943-813B8E3BAF04}"/>
          </ac:spMkLst>
        </pc:spChg>
        <pc:spChg chg="mod">
          <ac:chgData name="Keisi Kapaj" userId="9c79912a-7b99-418b-b6d2-cfe18f2ebb21" providerId="ADAL" clId="{2A70931E-5AE8-48F9-9F75-4E21451EC19F}" dt="2023-04-04T14:54:47.066" v="892" actId="20577"/>
          <ac:spMkLst>
            <pc:docMk/>
            <pc:sldMk cId="2075860265" sldId="398"/>
            <ac:spMk id="8" creationId="{0205839E-C543-44EC-A8BD-86C1AF037DAD}"/>
          </ac:spMkLst>
        </pc:spChg>
        <pc:spChg chg="mod">
          <ac:chgData name="Keisi Kapaj" userId="9c79912a-7b99-418b-b6d2-cfe18f2ebb21" providerId="ADAL" clId="{2A70931E-5AE8-48F9-9F75-4E21451EC19F}" dt="2023-04-04T14:56:29.308" v="921" actId="368"/>
          <ac:spMkLst>
            <pc:docMk/>
            <pc:sldMk cId="2075860265" sldId="398"/>
            <ac:spMk id="10" creationId="{0F40FAC4-4B27-4648-BF98-6A7DD5386B37}"/>
          </ac:spMkLst>
        </pc:spChg>
        <pc:spChg chg="add del mod modVis">
          <ac:chgData name="Keisi Kapaj" userId="9c79912a-7b99-418b-b6d2-cfe18f2ebb21" providerId="ADAL" clId="{2A70931E-5AE8-48F9-9F75-4E21451EC19F}" dt="2023-04-04T14:54:17.309" v="855"/>
          <ac:spMkLst>
            <pc:docMk/>
            <pc:sldMk cId="2075860265" sldId="398"/>
            <ac:spMk id="11" creationId="{A75155D6-A8FB-4CA8-9536-9397071B13B8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4" creationId="{FD617900-9219-4B4D-BCAF-295F7F870602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5" creationId="{A322D287-F624-4A85-B485-8AF2CE3EEF36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6" creationId="{898DC586-3B82-4C17-A382-A384F1670440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7" creationId="{D1764031-CB63-466E-8F41-5226525B6BC6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8" creationId="{00974F1B-F6BC-4DF2-B374-BF43E3367F35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19" creationId="{993E9411-E5D5-4D40-8A71-638FC3D0E6D1}"/>
          </ac:spMkLst>
        </pc:spChg>
        <pc:spChg chg="mod">
          <ac:chgData name="Keisi Kapaj" userId="9c79912a-7b99-418b-b6d2-cfe18f2ebb21" providerId="ADAL" clId="{2A70931E-5AE8-48F9-9F75-4E21451EC19F}" dt="2023-04-04T14:54:29.603" v="873"/>
          <ac:spMkLst>
            <pc:docMk/>
            <pc:sldMk cId="2075860265" sldId="398"/>
            <ac:spMk id="20" creationId="{16719D93-FAE5-4938-9282-5E50D517E250}"/>
          </ac:spMkLst>
        </pc:spChg>
        <pc:grpChg chg="add mod">
          <ac:chgData name="Keisi Kapaj" userId="9c79912a-7b99-418b-b6d2-cfe18f2ebb21" providerId="ADAL" clId="{2A70931E-5AE8-48F9-9F75-4E21451EC19F}" dt="2023-04-04T14:54:33.149" v="874" actId="1076"/>
          <ac:grpSpMkLst>
            <pc:docMk/>
            <pc:sldMk cId="2075860265" sldId="398"/>
            <ac:grpSpMk id="13" creationId="{B50688E4-770E-4539-AA2C-B750289B8BF3}"/>
          </ac:grpSpMkLst>
        </pc:grpChg>
        <pc:graphicFrameChg chg="add mod ord modVis replST">
          <ac:chgData name="Keisi Kapaj" userId="9c79912a-7b99-418b-b6d2-cfe18f2ebb21" providerId="ADAL" clId="{2A70931E-5AE8-48F9-9F75-4E21451EC19F}" dt="2023-04-06T08:21:48.692" v="5977" actId="1076"/>
          <ac:graphicFrameMkLst>
            <pc:docMk/>
            <pc:sldMk cId="2075860265" sldId="398"/>
            <ac:graphicFrameMk id="12" creationId="{7A91086C-D53B-43A6-ABE8-735850117C50}"/>
          </ac:graphicFrameMkLst>
        </pc:graphicFrameChg>
      </pc:sldChg>
      <pc:sldChg chg="modSp add del mod ord">
        <pc:chgData name="Keisi Kapaj" userId="9c79912a-7b99-418b-b6d2-cfe18f2ebb21" providerId="ADAL" clId="{2A70931E-5AE8-48F9-9F75-4E21451EC19F}" dt="2023-04-07T09:28:12.074" v="18354" actId="47"/>
        <pc:sldMkLst>
          <pc:docMk/>
          <pc:sldMk cId="736989151" sldId="399"/>
        </pc:sldMkLst>
        <pc:spChg chg="mod">
          <ac:chgData name="Keisi Kapaj" userId="9c79912a-7b99-418b-b6d2-cfe18f2ebb21" providerId="ADAL" clId="{2A70931E-5AE8-48F9-9F75-4E21451EC19F}" dt="2023-04-04T14:59:05.032" v="1000" actId="403"/>
          <ac:spMkLst>
            <pc:docMk/>
            <pc:sldMk cId="736989151" sldId="399"/>
            <ac:spMk id="9" creationId="{F2530A48-DDEC-23EC-DFAF-F9E360BBEF18}"/>
          </ac:spMkLst>
        </pc:spChg>
        <pc:spChg chg="mod">
          <ac:chgData name="Keisi Kapaj" userId="9c79912a-7b99-418b-b6d2-cfe18f2ebb21" providerId="ADAL" clId="{2A70931E-5AE8-48F9-9F75-4E21451EC19F}" dt="2023-04-04T14:58:37.331" v="993" actId="20577"/>
          <ac:spMkLst>
            <pc:docMk/>
            <pc:sldMk cId="736989151" sldId="399"/>
            <ac:spMk id="10" creationId="{080166A1-F1DD-D314-7B16-F581DB510328}"/>
          </ac:spMkLst>
        </pc:spChg>
      </pc:sldChg>
      <pc:sldChg chg="add del">
        <pc:chgData name="Keisi Kapaj" userId="9c79912a-7b99-418b-b6d2-cfe18f2ebb21" providerId="ADAL" clId="{2A70931E-5AE8-48F9-9F75-4E21451EC19F}" dt="2023-04-04T14:58:48.788" v="995"/>
        <pc:sldMkLst>
          <pc:docMk/>
          <pc:sldMk cId="2495374193" sldId="400"/>
        </pc:sldMkLst>
      </pc:sldChg>
      <pc:sldChg chg="addSp delSp modSp new add mod ord">
        <pc:chgData name="Keisi Kapaj" userId="9c79912a-7b99-418b-b6d2-cfe18f2ebb21" providerId="ADAL" clId="{2A70931E-5AE8-48F9-9F75-4E21451EC19F}" dt="2023-04-07T08:23:09.854" v="17545"/>
        <pc:sldMkLst>
          <pc:docMk/>
          <pc:sldMk cId="4200238213" sldId="400"/>
        </pc:sldMkLst>
        <pc:spChg chg="mod">
          <ac:chgData name="Keisi Kapaj" userId="9c79912a-7b99-418b-b6d2-cfe18f2ebb21" providerId="ADAL" clId="{2A70931E-5AE8-48F9-9F75-4E21451EC19F}" dt="2023-04-07T08:23:09.708" v="17503" actId="948"/>
          <ac:spMkLst>
            <pc:docMk/>
            <pc:sldMk cId="4200238213" sldId="400"/>
            <ac:spMk id="2" creationId="{D7F7DF3F-8589-4CEB-903B-351960B694F5}"/>
          </ac:spMkLst>
        </pc:spChg>
        <pc:spChg chg="mod">
          <ac:chgData name="Keisi Kapaj" userId="9c79912a-7b99-418b-b6d2-cfe18f2ebb21" providerId="ADAL" clId="{2A70931E-5AE8-48F9-9F75-4E21451EC19F}" dt="2023-04-06T10:00:10.216" v="15144" actId="403"/>
          <ac:spMkLst>
            <pc:docMk/>
            <pc:sldMk cId="4200238213" sldId="400"/>
            <ac:spMk id="3" creationId="{900B0B32-4D68-42B5-9F58-3424F70A1D1F}"/>
          </ac:spMkLst>
        </pc:spChg>
        <pc:spChg chg="add del mod modVis">
          <ac:chgData name="Keisi Kapaj" userId="9c79912a-7b99-418b-b6d2-cfe18f2ebb21" providerId="ADAL" clId="{2A70931E-5AE8-48F9-9F75-4E21451EC19F}" dt="2023-04-07T08:23:09.850" v="17543"/>
          <ac:spMkLst>
            <pc:docMk/>
            <pc:sldMk cId="4200238213" sldId="400"/>
            <ac:spMk id="6" creationId="{0CF70094-E0F1-414B-B837-02B8F3A74883}"/>
          </ac:spMkLst>
        </pc:spChg>
        <pc:spChg chg="del mod">
          <ac:chgData name="Keisi Kapaj" userId="9c79912a-7b99-418b-b6d2-cfe18f2ebb21" providerId="ADAL" clId="{2A70931E-5AE8-48F9-9F75-4E21451EC19F}" dt="2023-04-06T10:15:17.700" v="15236" actId="931"/>
          <ac:spMkLst>
            <pc:docMk/>
            <pc:sldMk cId="4200238213" sldId="400"/>
            <ac:spMk id="6" creationId="{E953E6F7-0783-4BA1-9CD4-3AC443EFEF06}"/>
          </ac:spMkLst>
        </pc:spChg>
        <pc:spChg chg="add del mod modVis">
          <ac:chgData name="Keisi Kapaj" userId="9c79912a-7b99-418b-b6d2-cfe18f2ebb21" providerId="ADAL" clId="{2A70931E-5AE8-48F9-9F75-4E21451EC19F}" dt="2023-04-04T15:02:55.954" v="1048"/>
          <ac:spMkLst>
            <pc:docMk/>
            <pc:sldMk cId="4200238213" sldId="400"/>
            <ac:spMk id="7" creationId="{CB261922-49AB-4441-9F52-56E6B26F1902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0" creationId="{98E4AE2E-2AFA-440F-8C93-5B5CFC8FFB6B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1" creationId="{03980574-48DD-4872-A677-DBB2099BC035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2" creationId="{D3900E37-8551-41E3-90F2-D262FE40F22B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3" creationId="{45368D6B-5C59-453A-A195-4012C251898F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4" creationId="{37C272A1-CD2D-4679-A07F-FA17A93062EC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5" creationId="{94FBEC62-E8B2-4286-8619-EE47CDE1A483}"/>
          </ac:spMkLst>
        </pc:spChg>
        <pc:spChg chg="mod">
          <ac:chgData name="Keisi Kapaj" userId="9c79912a-7b99-418b-b6d2-cfe18f2ebb21" providerId="ADAL" clId="{2A70931E-5AE8-48F9-9F75-4E21451EC19F}" dt="2023-04-04T15:03:11.250" v="1065"/>
          <ac:spMkLst>
            <pc:docMk/>
            <pc:sldMk cId="4200238213" sldId="400"/>
            <ac:spMk id="16" creationId="{8031789C-F9FE-4379-B53E-52DF6CEFC105}"/>
          </ac:spMkLst>
        </pc:spChg>
        <pc:spChg chg="add mod">
          <ac:chgData name="Keisi Kapaj" userId="9c79912a-7b99-418b-b6d2-cfe18f2ebb21" providerId="ADAL" clId="{2A70931E-5AE8-48F9-9F75-4E21451EC19F}" dt="2023-04-07T08:22:57.329" v="17500" actId="113"/>
          <ac:spMkLst>
            <pc:docMk/>
            <pc:sldMk cId="4200238213" sldId="400"/>
            <ac:spMk id="17" creationId="{3F8B41D2-5C99-4F74-8270-9F680411D866}"/>
          </ac:spMkLst>
        </pc:spChg>
        <pc:spChg chg="add mod">
          <ac:chgData name="Keisi Kapaj" userId="9c79912a-7b99-418b-b6d2-cfe18f2ebb21" providerId="ADAL" clId="{2A70931E-5AE8-48F9-9F75-4E21451EC19F}" dt="2023-04-07T08:23:01.622" v="17501" actId="113"/>
          <ac:spMkLst>
            <pc:docMk/>
            <pc:sldMk cId="4200238213" sldId="400"/>
            <ac:spMk id="18" creationId="{1B076FEA-C3C8-47D3-AAFD-149808047CDE}"/>
          </ac:spMkLst>
        </pc:spChg>
        <pc:spChg chg="add mod">
          <ac:chgData name="Keisi Kapaj" userId="9c79912a-7b99-418b-b6d2-cfe18f2ebb21" providerId="ADAL" clId="{2A70931E-5AE8-48F9-9F75-4E21451EC19F}" dt="2023-04-06T12:02:28.818" v="15632" actId="5793"/>
          <ac:spMkLst>
            <pc:docMk/>
            <pc:sldMk cId="4200238213" sldId="400"/>
            <ac:spMk id="22" creationId="{03BF7890-BC95-49F2-8940-BAC7E1AF5ACE}"/>
          </ac:spMkLst>
        </pc:spChg>
        <pc:grpChg chg="add mod">
          <ac:chgData name="Keisi Kapaj" userId="9c79912a-7b99-418b-b6d2-cfe18f2ebb21" providerId="ADAL" clId="{2A70931E-5AE8-48F9-9F75-4E21451EC19F}" dt="2023-04-04T15:07:05.105" v="1132" actId="14100"/>
          <ac:grpSpMkLst>
            <pc:docMk/>
            <pc:sldMk cId="4200238213" sldId="400"/>
            <ac:grpSpMk id="9" creationId="{6B112A56-0A12-4F16-AB31-EBC3492A1882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3:09.854" v="17545"/>
          <ac:graphicFrameMkLst>
            <pc:docMk/>
            <pc:sldMk cId="4200238213" sldId="400"/>
            <ac:graphicFrameMk id="8" creationId="{7B03345B-8630-498F-A492-502259103B41}"/>
          </ac:graphicFrameMkLst>
        </pc:graphicFrameChg>
        <pc:picChg chg="add mod">
          <ac:chgData name="Keisi Kapaj" userId="9c79912a-7b99-418b-b6d2-cfe18f2ebb21" providerId="ADAL" clId="{2A70931E-5AE8-48F9-9F75-4E21451EC19F}" dt="2023-04-06T09:59:40.203" v="15132" actId="1076"/>
          <ac:picMkLst>
            <pc:docMk/>
            <pc:sldMk cId="4200238213" sldId="400"/>
            <ac:picMk id="19" creationId="{ED150EB8-51E8-4349-AE81-6F402A7132CD}"/>
          </ac:picMkLst>
        </pc:picChg>
        <pc:picChg chg="add mod">
          <ac:chgData name="Keisi Kapaj" userId="9c79912a-7b99-418b-b6d2-cfe18f2ebb21" providerId="ADAL" clId="{2A70931E-5AE8-48F9-9F75-4E21451EC19F}" dt="2023-04-06T10:18:26.797" v="15258" actId="14100"/>
          <ac:picMkLst>
            <pc:docMk/>
            <pc:sldMk cId="4200238213" sldId="400"/>
            <ac:picMk id="20" creationId="{AD092E52-FB7D-45D8-9C97-7AB09A42CC7D}"/>
          </ac:picMkLst>
        </pc:picChg>
        <pc:picChg chg="add mod">
          <ac:chgData name="Keisi Kapaj" userId="9c79912a-7b99-418b-b6d2-cfe18f2ebb21" providerId="ADAL" clId="{2A70931E-5AE8-48F9-9F75-4E21451EC19F}" dt="2023-04-06T12:02:47.281" v="15635" actId="14100"/>
          <ac:picMkLst>
            <pc:docMk/>
            <pc:sldMk cId="4200238213" sldId="400"/>
            <ac:picMk id="23" creationId="{2DBAB4DE-6BCA-465D-83E0-2575476A4BF4}"/>
          </ac:picMkLst>
        </pc:picChg>
      </pc:sldChg>
      <pc:sldChg chg="modSp add del mod ord">
        <pc:chgData name="Keisi Kapaj" userId="9c79912a-7b99-418b-b6d2-cfe18f2ebb21" providerId="ADAL" clId="{2A70931E-5AE8-48F9-9F75-4E21451EC19F}" dt="2023-04-07T09:28:45.223" v="18364" actId="47"/>
        <pc:sldMkLst>
          <pc:docMk/>
          <pc:sldMk cId="2295928028" sldId="401"/>
        </pc:sldMkLst>
        <pc:spChg chg="mod">
          <ac:chgData name="Keisi Kapaj" userId="9c79912a-7b99-418b-b6d2-cfe18f2ebb21" providerId="ADAL" clId="{2A70931E-5AE8-48F9-9F75-4E21451EC19F}" dt="2023-04-04T15:09:45.792" v="1143" actId="403"/>
          <ac:spMkLst>
            <pc:docMk/>
            <pc:sldMk cId="2295928028" sldId="401"/>
            <ac:spMk id="9" creationId="{F2530A48-DDEC-23EC-DFAF-F9E360BBEF18}"/>
          </ac:spMkLst>
        </pc:spChg>
        <pc:spChg chg="mod">
          <ac:chgData name="Keisi Kapaj" userId="9c79912a-7b99-418b-b6d2-cfe18f2ebb21" providerId="ADAL" clId="{2A70931E-5AE8-48F9-9F75-4E21451EC19F}" dt="2023-04-04T15:09:23.330" v="1138" actId="20577"/>
          <ac:spMkLst>
            <pc:docMk/>
            <pc:sldMk cId="2295928028" sldId="401"/>
            <ac:spMk id="10" creationId="{080166A1-F1DD-D314-7B16-F581DB510328}"/>
          </ac:spMkLst>
        </pc:spChg>
      </pc:sldChg>
      <pc:sldChg chg="delSp add del mod">
        <pc:chgData name="Keisi Kapaj" userId="9c79912a-7b99-418b-b6d2-cfe18f2ebb21" providerId="ADAL" clId="{2A70931E-5AE8-48F9-9F75-4E21451EC19F}" dt="2023-04-04T15:12:07.818" v="1182" actId="2696"/>
        <pc:sldMkLst>
          <pc:docMk/>
          <pc:sldMk cId="1750956833" sldId="402"/>
        </pc:sldMkLst>
        <pc:grpChg chg="del">
          <ac:chgData name="Keisi Kapaj" userId="9c79912a-7b99-418b-b6d2-cfe18f2ebb21" providerId="ADAL" clId="{2A70931E-5AE8-48F9-9F75-4E21451EC19F}" dt="2023-04-04T15:10:20.038" v="1147" actId="21"/>
          <ac:grpSpMkLst>
            <pc:docMk/>
            <pc:sldMk cId="1750956833" sldId="402"/>
            <ac:grpSpMk id="9" creationId="{6B112A56-0A12-4F16-AB31-EBC3492A1882}"/>
          </ac:grpSpMkLst>
        </pc:grpChg>
      </pc:sldChg>
      <pc:sldChg chg="addSp delSp modSp new add mod">
        <pc:chgData name="Keisi Kapaj" userId="9c79912a-7b99-418b-b6d2-cfe18f2ebb21" providerId="ADAL" clId="{2A70931E-5AE8-48F9-9F75-4E21451EC19F}" dt="2023-04-07T08:22:05.930" v="17454" actId="207"/>
        <pc:sldMkLst>
          <pc:docMk/>
          <pc:sldMk cId="4227321972" sldId="403"/>
        </pc:sldMkLst>
        <pc:spChg chg="mod">
          <ac:chgData name="Keisi Kapaj" userId="9c79912a-7b99-418b-b6d2-cfe18f2ebb21" providerId="ADAL" clId="{2A70931E-5AE8-48F9-9F75-4E21451EC19F}" dt="2023-04-07T08:21:47.305" v="17409" actId="948"/>
          <ac:spMkLst>
            <pc:docMk/>
            <pc:sldMk cId="4227321972" sldId="403"/>
            <ac:spMk id="2" creationId="{E1766AD3-959E-4E73-8C40-CF39054BE6C2}"/>
          </ac:spMkLst>
        </pc:spChg>
        <pc:spChg chg="del">
          <ac:chgData name="Keisi Kapaj" userId="9c79912a-7b99-418b-b6d2-cfe18f2ebb21" providerId="ADAL" clId="{2A70931E-5AE8-48F9-9F75-4E21451EC19F}" dt="2023-04-04T15:49:45.358" v="1543"/>
          <ac:spMkLst>
            <pc:docMk/>
            <pc:sldMk cId="4227321972" sldId="403"/>
            <ac:spMk id="3" creationId="{0F7A4ECC-121F-4573-95AF-F941E86BCF2A}"/>
          </ac:spMkLst>
        </pc:spChg>
        <pc:spChg chg="add del mod modVis">
          <ac:chgData name="Keisi Kapaj" userId="9c79912a-7b99-418b-b6d2-cfe18f2ebb21" providerId="ADAL" clId="{2A70931E-5AE8-48F9-9F75-4E21451EC19F}" dt="2023-04-07T08:21:47.780" v="17449"/>
          <ac:spMkLst>
            <pc:docMk/>
            <pc:sldMk cId="4227321972" sldId="403"/>
            <ac:spMk id="3" creationId="{CA83DA9D-AC90-425C-AD41-0644895F8A50}"/>
          </ac:spMkLst>
        </pc:spChg>
        <pc:spChg chg="add del mod">
          <ac:chgData name="Keisi Kapaj" userId="9c79912a-7b99-418b-b6d2-cfe18f2ebb21" providerId="ADAL" clId="{2A70931E-5AE8-48F9-9F75-4E21451EC19F}" dt="2023-04-06T10:35:17.985" v="15316" actId="478"/>
          <ac:spMkLst>
            <pc:docMk/>
            <pc:sldMk cId="4227321972" sldId="403"/>
            <ac:spMk id="3" creationId="{D77E23A3-E254-45E8-BD08-C9D06C52C3CD}"/>
          </ac:spMkLst>
        </pc:spChg>
        <pc:spChg chg="del mod">
          <ac:chgData name="Keisi Kapaj" userId="9c79912a-7b99-418b-b6d2-cfe18f2ebb21" providerId="ADAL" clId="{2A70931E-5AE8-48F9-9F75-4E21451EC19F}" dt="2023-04-06T12:17:30.571" v="15636" actId="478"/>
          <ac:spMkLst>
            <pc:docMk/>
            <pc:sldMk cId="4227321972" sldId="403"/>
            <ac:spMk id="6" creationId="{4BA1722F-F372-4E04-9DFC-1E4794116384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8" creationId="{69FBD1F7-C774-4C44-A17D-1A875A1C9CE9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9" creationId="{8B77C305-4C3E-43A3-958C-3B0FD88CB9F8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10" creationId="{79E53E5C-89B9-4C3E-B37C-96400DE06904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11" creationId="{F24431FC-4309-48E6-8143-59304D7443F1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12" creationId="{6F7CC669-337D-4068-9CE6-421880E069FE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13" creationId="{85313A4E-FF55-4F53-9C1C-B43F6118A15A}"/>
          </ac:spMkLst>
        </pc:spChg>
        <pc:spChg chg="mod">
          <ac:chgData name="Keisi Kapaj" userId="9c79912a-7b99-418b-b6d2-cfe18f2ebb21" providerId="ADAL" clId="{2A70931E-5AE8-48F9-9F75-4E21451EC19F}" dt="2023-04-04T15:10:24.780" v="1148"/>
          <ac:spMkLst>
            <pc:docMk/>
            <pc:sldMk cId="4227321972" sldId="403"/>
            <ac:spMk id="14" creationId="{689F479C-0A95-460E-A36D-02ECC72650AF}"/>
          </ac:spMkLst>
        </pc:spChg>
        <pc:spChg chg="add mod">
          <ac:chgData name="Keisi Kapaj" userId="9c79912a-7b99-418b-b6d2-cfe18f2ebb21" providerId="ADAL" clId="{2A70931E-5AE8-48F9-9F75-4E21451EC19F}" dt="2023-04-07T08:21:52.982" v="17452" actId="113"/>
          <ac:spMkLst>
            <pc:docMk/>
            <pc:sldMk cId="4227321972" sldId="403"/>
            <ac:spMk id="16" creationId="{467D5434-F830-44D8-9EC9-47D43273AFB3}"/>
          </ac:spMkLst>
        </pc:spChg>
        <pc:spChg chg="add mod">
          <ac:chgData name="Keisi Kapaj" userId="9c79912a-7b99-418b-b6d2-cfe18f2ebb21" providerId="ADAL" clId="{2A70931E-5AE8-48F9-9F75-4E21451EC19F}" dt="2023-04-07T08:22:05.930" v="17454" actId="207"/>
          <ac:spMkLst>
            <pc:docMk/>
            <pc:sldMk cId="4227321972" sldId="403"/>
            <ac:spMk id="17" creationId="{DFD200AE-8E17-4752-8A29-DA45054E154D}"/>
          </ac:spMkLst>
        </pc:spChg>
        <pc:spChg chg="add del mod modVis">
          <ac:chgData name="Keisi Kapaj" userId="9c79912a-7b99-418b-b6d2-cfe18f2ebb21" providerId="ADAL" clId="{2A70931E-5AE8-48F9-9F75-4E21451EC19F}" dt="2023-04-04T15:14:29.214" v="1269"/>
          <ac:spMkLst>
            <pc:docMk/>
            <pc:sldMk cId="4227321972" sldId="403"/>
            <ac:spMk id="18" creationId="{4F2347A4-E08C-4198-81E2-6672821DC641}"/>
          </ac:spMkLst>
        </pc:spChg>
        <pc:spChg chg="add mod">
          <ac:chgData name="Keisi Kapaj" userId="9c79912a-7b99-418b-b6d2-cfe18f2ebb21" providerId="ADAL" clId="{2A70931E-5AE8-48F9-9F75-4E21451EC19F}" dt="2023-04-06T13:23:46.482" v="16981" actId="2710"/>
          <ac:spMkLst>
            <pc:docMk/>
            <pc:sldMk cId="4227321972" sldId="403"/>
            <ac:spMk id="18" creationId="{6A966DD7-47A8-44FB-B24D-8BD048B2613E}"/>
          </ac:spMkLst>
        </pc:spChg>
        <pc:spChg chg="add del mod">
          <ac:chgData name="Keisi Kapaj" userId="9c79912a-7b99-418b-b6d2-cfe18f2ebb21" providerId="ADAL" clId="{2A70931E-5AE8-48F9-9F75-4E21451EC19F}" dt="2023-04-06T12:17:35.008" v="15637" actId="478"/>
          <ac:spMkLst>
            <pc:docMk/>
            <pc:sldMk cId="4227321972" sldId="403"/>
            <ac:spMk id="22" creationId="{344B43DF-D1EF-4748-9077-5C7DE535EF62}"/>
          </ac:spMkLst>
        </pc:spChg>
        <pc:spChg chg="add mod">
          <ac:chgData name="Keisi Kapaj" userId="9c79912a-7b99-418b-b6d2-cfe18f2ebb21" providerId="ADAL" clId="{2A70931E-5AE8-48F9-9F75-4E21451EC19F}" dt="2023-04-06T12:53:18.959" v="16177" actId="403"/>
          <ac:spMkLst>
            <pc:docMk/>
            <pc:sldMk cId="4227321972" sldId="403"/>
            <ac:spMk id="23" creationId="{1A999FAE-AEB9-467A-9491-DB62C84F3A68}"/>
          </ac:spMkLst>
        </pc:spChg>
        <pc:grpChg chg="add mod">
          <ac:chgData name="Keisi Kapaj" userId="9c79912a-7b99-418b-b6d2-cfe18f2ebb21" providerId="ADAL" clId="{2A70931E-5AE8-48F9-9F75-4E21451EC19F}" dt="2023-04-04T15:10:24.780" v="1148"/>
          <ac:grpSpMkLst>
            <pc:docMk/>
            <pc:sldMk cId="4227321972" sldId="403"/>
            <ac:grpSpMk id="7" creationId="{2E9FF0AA-7E54-46FF-AEFA-E59815B23D33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1:47.817" v="17451"/>
          <ac:graphicFrameMkLst>
            <pc:docMk/>
            <pc:sldMk cId="4227321972" sldId="403"/>
            <ac:graphicFrameMk id="15" creationId="{5DCA4C4C-0CCA-4639-9F81-BB3EB5DCB5FE}"/>
          </ac:graphicFrameMkLst>
        </pc:graphicFrameChg>
        <pc:picChg chg="add mod modCrop">
          <ac:chgData name="Keisi Kapaj" userId="9c79912a-7b99-418b-b6d2-cfe18f2ebb21" providerId="ADAL" clId="{2A70931E-5AE8-48F9-9F75-4E21451EC19F}" dt="2023-04-06T12:48:56.213" v="15990" actId="14100"/>
          <ac:picMkLst>
            <pc:docMk/>
            <pc:sldMk cId="4227321972" sldId="403"/>
            <ac:picMk id="19" creationId="{F70B9030-0820-41C4-AD51-A7905A4B7F43}"/>
          </ac:picMkLst>
        </pc:picChg>
        <pc:picChg chg="add del mod">
          <ac:chgData name="Keisi Kapaj" userId="9c79912a-7b99-418b-b6d2-cfe18f2ebb21" providerId="ADAL" clId="{2A70931E-5AE8-48F9-9F75-4E21451EC19F}" dt="2023-04-06T12:45:24.507" v="15963" actId="21"/>
          <ac:picMkLst>
            <pc:docMk/>
            <pc:sldMk cId="4227321972" sldId="403"/>
            <ac:picMk id="20" creationId="{A3DCDD5F-BF01-47F9-8196-B16D817BC1A8}"/>
          </ac:picMkLst>
        </pc:picChg>
        <pc:picChg chg="add del mod">
          <ac:chgData name="Keisi Kapaj" userId="9c79912a-7b99-418b-b6d2-cfe18f2ebb21" providerId="ADAL" clId="{2A70931E-5AE8-48F9-9F75-4E21451EC19F}" dt="2023-04-06T12:57:29.366" v="16197" actId="478"/>
          <ac:picMkLst>
            <pc:docMk/>
            <pc:sldMk cId="4227321972" sldId="403"/>
            <ac:picMk id="24" creationId="{796D8104-503F-4A0F-B596-345037BB8193}"/>
          </ac:picMkLst>
        </pc:picChg>
        <pc:picChg chg="add del mod replST">
          <ac:chgData name="Keisi Kapaj" userId="9c79912a-7b99-418b-b6d2-cfe18f2ebb21" providerId="ADAL" clId="{2A70931E-5AE8-48F9-9F75-4E21451EC19F}" dt="2023-04-06T12:59:10.196" v="16223"/>
          <ac:picMkLst>
            <pc:docMk/>
            <pc:sldMk cId="4227321972" sldId="403"/>
            <ac:picMk id="25" creationId="{C4F02ED9-347A-4B32-B1EB-3A104F2762F6}"/>
          </ac:picMkLst>
        </pc:picChg>
        <pc:picChg chg="add del mod replST">
          <ac:chgData name="Keisi Kapaj" userId="9c79912a-7b99-418b-b6d2-cfe18f2ebb21" providerId="ADAL" clId="{2A70931E-5AE8-48F9-9F75-4E21451EC19F}" dt="2023-04-06T12:59:38.869" v="16252"/>
          <ac:picMkLst>
            <pc:docMk/>
            <pc:sldMk cId="4227321972" sldId="403"/>
            <ac:picMk id="26" creationId="{00474ABE-FC42-4436-9A43-BF86C5F6E941}"/>
          </ac:picMkLst>
        </pc:picChg>
        <pc:picChg chg="add mod replST">
          <ac:chgData name="Keisi Kapaj" userId="9c79912a-7b99-418b-b6d2-cfe18f2ebb21" providerId="ADAL" clId="{2A70931E-5AE8-48F9-9F75-4E21451EC19F}" dt="2023-04-06T13:00:08.495" v="16262" actId="1076"/>
          <ac:picMkLst>
            <pc:docMk/>
            <pc:sldMk cId="4227321972" sldId="403"/>
            <ac:picMk id="27" creationId="{A462511B-1FAE-4902-82CB-1276D6A13D4D}"/>
          </ac:picMkLst>
        </pc:picChg>
      </pc:sldChg>
      <pc:sldChg chg="add del">
        <pc:chgData name="Keisi Kapaj" userId="9c79912a-7b99-418b-b6d2-cfe18f2ebb21" providerId="ADAL" clId="{2A70931E-5AE8-48F9-9F75-4E21451EC19F}" dt="2023-04-04T15:17:30.525" v="1349" actId="47"/>
        <pc:sldMkLst>
          <pc:docMk/>
          <pc:sldMk cId="3112679305" sldId="404"/>
        </pc:sldMkLst>
      </pc:sldChg>
      <pc:sldChg chg="addSp delSp modSp new add mod">
        <pc:chgData name="Keisi Kapaj" userId="9c79912a-7b99-418b-b6d2-cfe18f2ebb21" providerId="ADAL" clId="{2A70931E-5AE8-48F9-9F75-4E21451EC19F}" dt="2023-04-06T13:12:15.933" v="16739" actId="1076"/>
        <pc:sldMkLst>
          <pc:docMk/>
          <pc:sldMk cId="3100986798" sldId="405"/>
        </pc:sldMkLst>
        <pc:spChg chg="mod">
          <ac:chgData name="Keisi Kapaj" userId="9c79912a-7b99-418b-b6d2-cfe18f2ebb21" providerId="ADAL" clId="{2A70931E-5AE8-48F9-9F75-4E21451EC19F}" dt="2023-04-04T15:16:46.658" v="1284" actId="948"/>
          <ac:spMkLst>
            <pc:docMk/>
            <pc:sldMk cId="3100986798" sldId="405"/>
            <ac:spMk id="2" creationId="{045A721E-179A-4C75-9D2C-87C25C8F7BD3}"/>
          </ac:spMkLst>
        </pc:spChg>
        <pc:spChg chg="add del mod modVis">
          <ac:chgData name="Keisi Kapaj" userId="9c79912a-7b99-418b-b6d2-cfe18f2ebb21" providerId="ADAL" clId="{2A70931E-5AE8-48F9-9F75-4E21451EC19F}" dt="2023-04-04T15:16:46.698" v="1324"/>
          <ac:spMkLst>
            <pc:docMk/>
            <pc:sldMk cId="3100986798" sldId="405"/>
            <ac:spMk id="5" creationId="{01F0BCB8-9611-4272-B822-B9A7BA6F26FE}"/>
          </ac:spMkLst>
        </pc:spChg>
        <pc:spChg chg="add mod">
          <ac:chgData name="Keisi Kapaj" userId="9c79912a-7b99-418b-b6d2-cfe18f2ebb21" providerId="ADAL" clId="{2A70931E-5AE8-48F9-9F75-4E21451EC19F}" dt="2023-04-06T13:10:07.240" v="16609" actId="20577"/>
          <ac:spMkLst>
            <pc:docMk/>
            <pc:sldMk cId="3100986798" sldId="405"/>
            <ac:spMk id="5" creationId="{C44A8AE2-2545-42BA-BFD9-759D4613A1E8}"/>
          </ac:spMkLst>
        </pc:spChg>
        <pc:spChg chg="add mod">
          <ac:chgData name="Keisi Kapaj" userId="9c79912a-7b99-418b-b6d2-cfe18f2ebb21" providerId="ADAL" clId="{2A70931E-5AE8-48F9-9F75-4E21451EC19F}" dt="2023-04-06T13:12:15.933" v="16739" actId="1076"/>
          <ac:spMkLst>
            <pc:docMk/>
            <pc:sldMk cId="3100986798" sldId="405"/>
            <ac:spMk id="7" creationId="{F999B5CC-CB2B-483F-9F5C-77C3498BD085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8" creationId="{4B73291A-B1A9-41BE-9A09-7288EF7F71F4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9" creationId="{203347FF-A602-4DB2-99BE-1876AD62ED6B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10" creationId="{5DE87331-861C-40F0-8ED1-A7B54EAB13E5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11" creationId="{957231B6-53B1-494C-B1A9-3EF637BDF17F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12" creationId="{E167A18F-14F2-4DCF-8FBF-22CADF7C4A8E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13" creationId="{D4FFA0C2-EC5E-4480-A9DE-F427D776E62F}"/>
          </ac:spMkLst>
        </pc:spChg>
        <pc:spChg chg="mod">
          <ac:chgData name="Keisi Kapaj" userId="9c79912a-7b99-418b-b6d2-cfe18f2ebb21" providerId="ADAL" clId="{2A70931E-5AE8-48F9-9F75-4E21451EC19F}" dt="2023-04-04T15:16:52.262" v="1341"/>
          <ac:spMkLst>
            <pc:docMk/>
            <pc:sldMk cId="3100986798" sldId="405"/>
            <ac:spMk id="14" creationId="{09F15CF9-1583-41D5-B793-567AAFBC89CF}"/>
          </ac:spMkLst>
        </pc:spChg>
        <pc:spChg chg="add del mod">
          <ac:chgData name="Keisi Kapaj" userId="9c79912a-7b99-418b-b6d2-cfe18f2ebb21" providerId="ADAL" clId="{2A70931E-5AE8-48F9-9F75-4E21451EC19F}" dt="2023-04-04T15:17:15.404" v="1347" actId="478"/>
          <ac:spMkLst>
            <pc:docMk/>
            <pc:sldMk cId="3100986798" sldId="405"/>
            <ac:spMk id="15" creationId="{3953DB62-0D80-4B73-A1A9-9C23BA708E6B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17" creationId="{DAC2BCA4-07CF-4538-B262-C7484B4827C1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18" creationId="{F6F07603-72B7-47A9-B71A-A5F72E21E2C9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19" creationId="{3A2FACF8-5564-4138-8239-E6DFEF34B3D6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20" creationId="{2D594567-48F7-49C3-9140-1B6EA20C3917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21" creationId="{06A6A0FB-3A26-4B42-A195-F61143A1DB83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22" creationId="{21FBFFCF-E6FE-4C74-B46D-B5AFEA7BE22B}"/>
          </ac:spMkLst>
        </pc:spChg>
        <pc:spChg chg="mod">
          <ac:chgData name="Keisi Kapaj" userId="9c79912a-7b99-418b-b6d2-cfe18f2ebb21" providerId="ADAL" clId="{2A70931E-5AE8-48F9-9F75-4E21451EC19F}" dt="2023-04-04T15:17:54.659" v="1351"/>
          <ac:spMkLst>
            <pc:docMk/>
            <pc:sldMk cId="3100986798" sldId="405"/>
            <ac:spMk id="23" creationId="{79A246C0-A38D-43EF-8CC0-6BC717CA354F}"/>
          </ac:spMkLst>
        </pc:spChg>
        <pc:spChg chg="add mod">
          <ac:chgData name="Keisi Kapaj" userId="9c79912a-7b99-418b-b6d2-cfe18f2ebb21" providerId="ADAL" clId="{2A70931E-5AE8-48F9-9F75-4E21451EC19F}" dt="2023-04-04T15:18:30.295" v="1371" actId="113"/>
          <ac:spMkLst>
            <pc:docMk/>
            <pc:sldMk cId="3100986798" sldId="405"/>
            <ac:spMk id="24" creationId="{59B98A35-74D3-4BDF-9CB7-BE66C7D72434}"/>
          </ac:spMkLst>
        </pc:spChg>
        <pc:grpChg chg="add del mod">
          <ac:chgData name="Keisi Kapaj" userId="9c79912a-7b99-418b-b6d2-cfe18f2ebb21" providerId="ADAL" clId="{2A70931E-5AE8-48F9-9F75-4E21451EC19F}" dt="2023-04-04T15:17:52.244" v="1350" actId="478"/>
          <ac:grpSpMkLst>
            <pc:docMk/>
            <pc:sldMk cId="3100986798" sldId="405"/>
            <ac:grpSpMk id="7" creationId="{D4CF3E15-15A2-4100-B083-3F45AF260A25}"/>
          </ac:grpSpMkLst>
        </pc:grpChg>
        <pc:grpChg chg="add mod">
          <ac:chgData name="Keisi Kapaj" userId="9c79912a-7b99-418b-b6d2-cfe18f2ebb21" providerId="ADAL" clId="{2A70931E-5AE8-48F9-9F75-4E21451EC19F}" dt="2023-04-04T15:17:54.659" v="1351"/>
          <ac:grpSpMkLst>
            <pc:docMk/>
            <pc:sldMk cId="3100986798" sldId="405"/>
            <ac:grpSpMk id="16" creationId="{333E4E45-1889-4733-90BD-7ECCBAB1EF3A}"/>
          </ac:grpSpMkLst>
        </pc:grpChg>
        <pc:graphicFrameChg chg="add mod ord modVis replST">
          <ac:chgData name="Keisi Kapaj" userId="9c79912a-7b99-418b-b6d2-cfe18f2ebb21" providerId="ADAL" clId="{2A70931E-5AE8-48F9-9F75-4E21451EC19F}" dt="2023-04-04T15:16:46.740" v="1340"/>
          <ac:graphicFrameMkLst>
            <pc:docMk/>
            <pc:sldMk cId="3100986798" sldId="405"/>
            <ac:graphicFrameMk id="6" creationId="{AD0774F8-87D0-438B-886C-4E2C6CBA50B1}"/>
          </ac:graphicFrameMkLst>
        </pc:graphicFrameChg>
        <pc:picChg chg="add del mod">
          <ac:chgData name="Keisi Kapaj" userId="9c79912a-7b99-418b-b6d2-cfe18f2ebb21" providerId="ADAL" clId="{2A70931E-5AE8-48F9-9F75-4E21451EC19F}" dt="2023-04-04T15:20:23.995" v="1375" actId="478"/>
          <ac:picMkLst>
            <pc:docMk/>
            <pc:sldMk cId="3100986798" sldId="405"/>
            <ac:picMk id="25" creationId="{088744A9-D2D5-4D7F-829B-6A5D58F9081B}"/>
          </ac:picMkLst>
        </pc:picChg>
        <pc:picChg chg="add mod">
          <ac:chgData name="Keisi Kapaj" userId="9c79912a-7b99-418b-b6d2-cfe18f2ebb21" providerId="ADAL" clId="{2A70931E-5AE8-48F9-9F75-4E21451EC19F}" dt="2023-04-04T15:20:40.145" v="1378" actId="14100"/>
          <ac:picMkLst>
            <pc:docMk/>
            <pc:sldMk cId="3100986798" sldId="405"/>
            <ac:picMk id="26" creationId="{7A96FF44-D4F3-4083-AB9C-19A826CA2B5D}"/>
          </ac:picMkLst>
        </pc:picChg>
      </pc:sldChg>
      <pc:sldChg chg="addSp delSp modSp add mod">
        <pc:chgData name="Keisi Kapaj" userId="9c79912a-7b99-418b-b6d2-cfe18f2ebb21" providerId="ADAL" clId="{2A70931E-5AE8-48F9-9F75-4E21451EC19F}" dt="2023-04-07T08:22:21.684" v="17499" actId="113"/>
        <pc:sldMkLst>
          <pc:docMk/>
          <pc:sldMk cId="2543276482" sldId="406"/>
        </pc:sldMkLst>
        <pc:spChg chg="mod">
          <ac:chgData name="Keisi Kapaj" userId="9c79912a-7b99-418b-b6d2-cfe18f2ebb21" providerId="ADAL" clId="{2A70931E-5AE8-48F9-9F75-4E21451EC19F}" dt="2023-04-07T08:22:15.761" v="17456" actId="948"/>
          <ac:spMkLst>
            <pc:docMk/>
            <pc:sldMk cId="2543276482" sldId="406"/>
            <ac:spMk id="2" creationId="{045A721E-179A-4C75-9D2C-87C25C8F7BD3}"/>
          </ac:spMkLst>
        </pc:spChg>
        <pc:spChg chg="add mod">
          <ac:chgData name="Keisi Kapaj" userId="9c79912a-7b99-418b-b6d2-cfe18f2ebb21" providerId="ADAL" clId="{2A70931E-5AE8-48F9-9F75-4E21451EC19F}" dt="2023-04-06T13:34:37.819" v="17256" actId="1076"/>
          <ac:spMkLst>
            <pc:docMk/>
            <pc:sldMk cId="2543276482" sldId="406"/>
            <ac:spMk id="5" creationId="{18A217A7-68BE-451E-9AEF-A57A5296EB60}"/>
          </ac:spMkLst>
        </pc:spChg>
        <pc:spChg chg="add del mod modVis">
          <ac:chgData name="Keisi Kapaj" userId="9c79912a-7b99-418b-b6d2-cfe18f2ebb21" providerId="ADAL" clId="{2A70931E-5AE8-48F9-9F75-4E21451EC19F}" dt="2023-04-04T15:22:46.011" v="1422"/>
          <ac:spMkLst>
            <pc:docMk/>
            <pc:sldMk cId="2543276482" sldId="406"/>
            <ac:spMk id="5" creationId="{C91310F0-8B30-416C-97A9-860841426A1F}"/>
          </ac:spMkLst>
        </pc:spChg>
        <pc:spChg chg="add del mod modVis">
          <ac:chgData name="Keisi Kapaj" userId="9c79912a-7b99-418b-b6d2-cfe18f2ebb21" providerId="ADAL" clId="{2A70931E-5AE8-48F9-9F75-4E21451EC19F}" dt="2023-04-07T08:22:15.868" v="17496"/>
          <ac:spMkLst>
            <pc:docMk/>
            <pc:sldMk cId="2543276482" sldId="406"/>
            <ac:spMk id="7" creationId="{C4DDD623-DF76-4480-8F65-04D3D3DF257E}"/>
          </ac:spMkLst>
        </pc:spChg>
        <pc:spChg chg="mod">
          <ac:chgData name="Keisi Kapaj" userId="9c79912a-7b99-418b-b6d2-cfe18f2ebb21" providerId="ADAL" clId="{2A70931E-5AE8-48F9-9F75-4E21451EC19F}" dt="2023-04-07T08:22:21.684" v="17499" actId="113"/>
          <ac:spMkLst>
            <pc:docMk/>
            <pc:sldMk cId="2543276482" sldId="406"/>
            <ac:spMk id="24" creationId="{59B98A35-74D3-4BDF-9CB7-BE66C7D72434}"/>
          </ac:spMkLst>
        </pc:spChg>
        <pc:graphicFrameChg chg="mod">
          <ac:chgData name="Keisi Kapaj" userId="9c79912a-7b99-418b-b6d2-cfe18f2ebb21" providerId="ADAL" clId="{2A70931E-5AE8-48F9-9F75-4E21451EC19F}" dt="2023-04-07T08:22:15.876" v="17498"/>
          <ac:graphicFrameMkLst>
            <pc:docMk/>
            <pc:sldMk cId="2543276482" sldId="406"/>
            <ac:graphicFrameMk id="6" creationId="{AD0774F8-87D0-438B-886C-4E2C6CBA50B1}"/>
          </ac:graphicFrameMkLst>
        </pc:graphicFrameChg>
        <pc:picChg chg="add mod">
          <ac:chgData name="Keisi Kapaj" userId="9c79912a-7b99-418b-b6d2-cfe18f2ebb21" providerId="ADAL" clId="{2A70931E-5AE8-48F9-9F75-4E21451EC19F}" dt="2023-04-04T15:30:07.566" v="1540" actId="14100"/>
          <ac:picMkLst>
            <pc:docMk/>
            <pc:sldMk cId="2543276482" sldId="406"/>
            <ac:picMk id="25" creationId="{0F590B42-F6A3-4A93-88AF-1B61A702082B}"/>
          </ac:picMkLst>
        </pc:picChg>
        <pc:picChg chg="del">
          <ac:chgData name="Keisi Kapaj" userId="9c79912a-7b99-418b-b6d2-cfe18f2ebb21" providerId="ADAL" clId="{2A70931E-5AE8-48F9-9F75-4E21451EC19F}" dt="2023-04-04T15:22:32.203" v="1380" actId="478"/>
          <ac:picMkLst>
            <pc:docMk/>
            <pc:sldMk cId="2543276482" sldId="406"/>
            <ac:picMk id="26" creationId="{7A96FF44-D4F3-4083-AB9C-19A826CA2B5D}"/>
          </ac:picMkLst>
        </pc:picChg>
      </pc:sldChg>
      <pc:sldChg chg="addSp delSp modSp new add mod">
        <pc:chgData name="Keisi Kapaj" userId="9c79912a-7b99-418b-b6d2-cfe18f2ebb21" providerId="ADAL" clId="{2A70931E-5AE8-48F9-9F75-4E21451EC19F}" dt="2023-04-06T13:29:50.420" v="17243" actId="1076"/>
        <pc:sldMkLst>
          <pc:docMk/>
          <pc:sldMk cId="2434178204" sldId="407"/>
        </pc:sldMkLst>
        <pc:spChg chg="mod">
          <ac:chgData name="Keisi Kapaj" userId="9c79912a-7b99-418b-b6d2-cfe18f2ebb21" providerId="ADAL" clId="{2A70931E-5AE8-48F9-9F75-4E21451EC19F}" dt="2023-04-04T15:27:26.117" v="1436" actId="948"/>
          <ac:spMkLst>
            <pc:docMk/>
            <pc:sldMk cId="2434178204" sldId="407"/>
            <ac:spMk id="2" creationId="{F263ED6B-2F5F-4008-8762-30751BFEFB62}"/>
          </ac:spMkLst>
        </pc:spChg>
        <pc:spChg chg="mod">
          <ac:chgData name="Keisi Kapaj" userId="9c79912a-7b99-418b-b6d2-cfe18f2ebb21" providerId="ADAL" clId="{2A70931E-5AE8-48F9-9F75-4E21451EC19F}" dt="2023-04-06T13:29:50.420" v="17243" actId="1076"/>
          <ac:spMkLst>
            <pc:docMk/>
            <pc:sldMk cId="2434178204" sldId="407"/>
            <ac:spMk id="3" creationId="{69E5A903-CED1-4FF7-A0ED-1C656D0E4417}"/>
          </ac:spMkLst>
        </pc:spChg>
        <pc:spChg chg="add mod">
          <ac:chgData name="Keisi Kapaj" userId="9c79912a-7b99-418b-b6d2-cfe18f2ebb21" providerId="ADAL" clId="{2A70931E-5AE8-48F9-9F75-4E21451EC19F}" dt="2023-04-06T13:28:04.657" v="17228" actId="1076"/>
          <ac:spMkLst>
            <pc:docMk/>
            <pc:sldMk cId="2434178204" sldId="407"/>
            <ac:spMk id="6" creationId="{793F0CC3-5125-499A-819D-81E87284A986}"/>
          </ac:spMkLst>
        </pc:spChg>
        <pc:spChg chg="del">
          <ac:chgData name="Keisi Kapaj" userId="9c79912a-7b99-418b-b6d2-cfe18f2ebb21" providerId="ADAL" clId="{2A70931E-5AE8-48F9-9F75-4E21451EC19F}" dt="2023-04-04T15:31:04.796" v="1541"/>
          <ac:spMkLst>
            <pc:docMk/>
            <pc:sldMk cId="2434178204" sldId="407"/>
            <ac:spMk id="6" creationId="{DAB6562E-1446-419E-B33A-27D18A7C2B62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8" creationId="{A63C2F80-C994-42C7-8EA4-2B3F7331BD2B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9" creationId="{F2436330-CFBF-4B20-95DC-D01C750A0674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10" creationId="{EAA9ECF0-9FF5-4EF5-9F45-BF9D0671FAA5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11" creationId="{EC54FDC2-3D83-4D45-8D39-1BACCA813E54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12" creationId="{A8BAFE00-EDEF-4D0D-B98C-3FDA108DE817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13" creationId="{E9FBAE71-6CAC-431D-8A7B-3027EB185729}"/>
          </ac:spMkLst>
        </pc:spChg>
        <pc:spChg chg="mod">
          <ac:chgData name="Keisi Kapaj" userId="9c79912a-7b99-418b-b6d2-cfe18f2ebb21" providerId="ADAL" clId="{2A70931E-5AE8-48F9-9F75-4E21451EC19F}" dt="2023-04-04T15:27:11.355" v="1434"/>
          <ac:spMkLst>
            <pc:docMk/>
            <pc:sldMk cId="2434178204" sldId="407"/>
            <ac:spMk id="14" creationId="{1100683F-4C53-4C9C-BF3C-302A2A65F3B4}"/>
          </ac:spMkLst>
        </pc:spChg>
        <pc:spChg chg="add del mod modVis">
          <ac:chgData name="Keisi Kapaj" userId="9c79912a-7b99-418b-b6d2-cfe18f2ebb21" providerId="ADAL" clId="{2A70931E-5AE8-48F9-9F75-4E21451EC19F}" dt="2023-04-04T15:27:26.158" v="1476"/>
          <ac:spMkLst>
            <pc:docMk/>
            <pc:sldMk cId="2434178204" sldId="407"/>
            <ac:spMk id="15" creationId="{F5CBE376-FEC0-4B90-A082-E16BA5303A7D}"/>
          </ac:spMkLst>
        </pc:spChg>
        <pc:spChg chg="add mod">
          <ac:chgData name="Keisi Kapaj" userId="9c79912a-7b99-418b-b6d2-cfe18f2ebb21" providerId="ADAL" clId="{2A70931E-5AE8-48F9-9F75-4E21451EC19F}" dt="2023-04-06T13:29:30.490" v="17240" actId="20577"/>
          <ac:spMkLst>
            <pc:docMk/>
            <pc:sldMk cId="2434178204" sldId="407"/>
            <ac:spMk id="17" creationId="{42A2388B-56CC-48A5-9F35-5D4F9E4DF7FE}"/>
          </ac:spMkLst>
        </pc:spChg>
        <pc:spChg chg="add del mod">
          <ac:chgData name="Keisi Kapaj" userId="9c79912a-7b99-418b-b6d2-cfe18f2ebb21" providerId="ADAL" clId="{2A70931E-5AE8-48F9-9F75-4E21451EC19F}" dt="2023-04-06T13:28:54.568" v="17232" actId="478"/>
          <ac:spMkLst>
            <pc:docMk/>
            <pc:sldMk cId="2434178204" sldId="407"/>
            <ac:spMk id="18" creationId="{D0E71D56-FA14-4B87-82C6-D54D181C5B98}"/>
          </ac:spMkLst>
        </pc:spChg>
        <pc:grpChg chg="add mod">
          <ac:chgData name="Keisi Kapaj" userId="9c79912a-7b99-418b-b6d2-cfe18f2ebb21" providerId="ADAL" clId="{2A70931E-5AE8-48F9-9F75-4E21451EC19F}" dt="2023-04-04T15:27:11.355" v="1434"/>
          <ac:grpSpMkLst>
            <pc:docMk/>
            <pc:sldMk cId="2434178204" sldId="407"/>
            <ac:grpSpMk id="7" creationId="{E2D296D4-1318-4BC1-88EB-B8B7DD529D32}"/>
          </ac:grpSpMkLst>
        </pc:grpChg>
        <pc:graphicFrameChg chg="add mod ord modVis replST">
          <ac:chgData name="Keisi Kapaj" userId="9c79912a-7b99-418b-b6d2-cfe18f2ebb21" providerId="ADAL" clId="{2A70931E-5AE8-48F9-9F75-4E21451EC19F}" dt="2023-04-04T15:27:26.195" v="1492"/>
          <ac:graphicFrameMkLst>
            <pc:docMk/>
            <pc:sldMk cId="2434178204" sldId="407"/>
            <ac:graphicFrameMk id="16" creationId="{1465A665-4086-410A-BE96-784A834EB4E7}"/>
          </ac:graphicFrameMkLst>
        </pc:graphicFrameChg>
        <pc:picChg chg="add mod">
          <ac:chgData name="Keisi Kapaj" userId="9c79912a-7b99-418b-b6d2-cfe18f2ebb21" providerId="ADAL" clId="{2A70931E-5AE8-48F9-9F75-4E21451EC19F}" dt="2023-04-06T13:29:45.834" v="17242" actId="1076"/>
          <ac:picMkLst>
            <pc:docMk/>
            <pc:sldMk cId="2434178204" sldId="407"/>
            <ac:picMk id="19" creationId="{1478EAC6-FC1A-4BF0-8E92-AE177C58DF31}"/>
          </ac:picMkLst>
        </pc:picChg>
      </pc:sldChg>
      <pc:sldChg chg="addSp delSp modSp new add mod ord">
        <pc:chgData name="Keisi Kapaj" userId="9c79912a-7b99-418b-b6d2-cfe18f2ebb21" providerId="ADAL" clId="{2A70931E-5AE8-48F9-9F75-4E21451EC19F}" dt="2023-04-07T08:25:36.891" v="17976" actId="14100"/>
        <pc:sldMkLst>
          <pc:docMk/>
          <pc:sldMk cId="3558765762" sldId="408"/>
        </pc:sldMkLst>
        <pc:spChg chg="mod ord">
          <ac:chgData name="Keisi Kapaj" userId="9c79912a-7b99-418b-b6d2-cfe18f2ebb21" providerId="ADAL" clId="{2A70931E-5AE8-48F9-9F75-4E21451EC19F}" dt="2023-04-07T08:24:45.147" v="17925" actId="948"/>
          <ac:spMkLst>
            <pc:docMk/>
            <pc:sldMk cId="3558765762" sldId="408"/>
            <ac:spMk id="2" creationId="{A2DE02BD-98D4-48B8-83DE-A05FA4ABEB88}"/>
          </ac:spMkLst>
        </pc:spChg>
        <pc:spChg chg="del">
          <ac:chgData name="Keisi Kapaj" userId="9c79912a-7b99-418b-b6d2-cfe18f2ebb21" providerId="ADAL" clId="{2A70931E-5AE8-48F9-9F75-4E21451EC19F}" dt="2023-04-05T10:39:11.321" v="2791" actId="478"/>
          <ac:spMkLst>
            <pc:docMk/>
            <pc:sldMk cId="3558765762" sldId="408"/>
            <ac:spMk id="3" creationId="{899C8A86-9990-46AC-8961-FF885CB2DED6}"/>
          </ac:spMkLst>
        </pc:spChg>
        <pc:spChg chg="add del mod modVis">
          <ac:chgData name="Keisi Kapaj" userId="9c79912a-7b99-418b-b6d2-cfe18f2ebb21" providerId="ADAL" clId="{2A70931E-5AE8-48F9-9F75-4E21451EC19F}" dt="2023-04-07T08:24:22.717" v="17789"/>
          <ac:spMkLst>
            <pc:docMk/>
            <pc:sldMk cId="3558765762" sldId="408"/>
            <ac:spMk id="3" creationId="{CFC3C6FD-77AC-410A-A710-6AA33B043F8F}"/>
          </ac:spMkLst>
        </pc:spChg>
        <pc:spChg chg="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4" creationId="{B2C78F43-67B0-4FEA-ADE0-21A9F0E9CE6E}"/>
          </ac:spMkLst>
        </pc:spChg>
        <pc:spChg chg="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5" creationId="{9B13490C-BE30-4178-AEB2-5B99B943CA36}"/>
          </ac:spMkLst>
        </pc:spChg>
        <pc:spChg chg="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6" creationId="{6CF2071A-5CEF-41EE-8392-5757ABFCE1BB}"/>
          </ac:spMkLst>
        </pc:spChg>
        <pc:spChg chg="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7" creationId="{9BB7DEE1-00EA-4D2B-BFA2-A99E63EE4BC3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9" creationId="{BAB5BC08-F255-40BD-A0DE-AD7878B80CF4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0" creationId="{EEE90FFD-2549-4F41-BD59-F7DAE8CB30CF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1" creationId="{369934A2-316F-4181-95AD-EB4994F39743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2" creationId="{9154FE42-B1C7-4028-9782-36E990B146AB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3" creationId="{A3235335-9661-4520-84EE-EC5A2FFD9111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4" creationId="{F53EC1F3-ABB9-4FC0-B15A-87F7402A8A99}"/>
          </ac:spMkLst>
        </pc:spChg>
        <pc:spChg chg="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5" creationId="{08DF3532-184D-43EE-98C4-B56EA70A361D}"/>
          </ac:spMkLst>
        </pc:spChg>
        <pc:spChg chg="add mod ord">
          <ac:chgData name="Keisi Kapaj" userId="9c79912a-7b99-418b-b6d2-cfe18f2ebb21" providerId="ADAL" clId="{2A70931E-5AE8-48F9-9F75-4E21451EC19F}" dt="2023-04-07T08:25:30.355" v="17974" actId="14100"/>
          <ac:spMkLst>
            <pc:docMk/>
            <pc:sldMk cId="3558765762" sldId="408"/>
            <ac:spMk id="16" creationId="{9532D8AE-76F2-4497-B98E-AE9291A1E230}"/>
          </ac:spMkLst>
        </pc:spChg>
        <pc:spChg chg="add mod ord">
          <ac:chgData name="Keisi Kapaj" userId="9c79912a-7b99-418b-b6d2-cfe18f2ebb21" providerId="ADAL" clId="{2A70931E-5AE8-48F9-9F75-4E21451EC19F}" dt="2023-04-07T08:25:36.891" v="17976" actId="14100"/>
          <ac:spMkLst>
            <pc:docMk/>
            <pc:sldMk cId="3558765762" sldId="408"/>
            <ac:spMk id="18" creationId="{C259DFB9-4CCC-4235-9B18-8F7193A267A5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19" creationId="{107CDC23-6372-404C-B1A4-D92D00970646}"/>
          </ac:spMkLst>
        </pc:spChg>
        <pc:spChg chg="add del mod modVis">
          <ac:chgData name="Keisi Kapaj" userId="9c79912a-7b99-418b-b6d2-cfe18f2ebb21" providerId="ADAL" clId="{2A70931E-5AE8-48F9-9F75-4E21451EC19F}" dt="2023-04-07T08:24:24.235" v="17833"/>
          <ac:spMkLst>
            <pc:docMk/>
            <pc:sldMk cId="3558765762" sldId="408"/>
            <ac:spMk id="20" creationId="{AE6A672A-15C4-4CA3-B2BB-A43D17A26A9C}"/>
          </ac:spMkLst>
        </pc:spChg>
        <pc:spChg chg="add del mod">
          <ac:chgData name="Keisi Kapaj" userId="9c79912a-7b99-418b-b6d2-cfe18f2ebb21" providerId="ADAL" clId="{2A70931E-5AE8-48F9-9F75-4E21451EC19F}" dt="2023-04-05T10:41:31.682" v="2812" actId="478"/>
          <ac:spMkLst>
            <pc:docMk/>
            <pc:sldMk cId="3558765762" sldId="408"/>
            <ac:spMk id="20" creationId="{CDEE1E2A-DBC3-449A-977A-8709299C9F68}"/>
          </ac:spMkLst>
        </pc:spChg>
        <pc:spChg chg="add del mod modVis">
          <ac:chgData name="Keisi Kapaj" userId="9c79912a-7b99-418b-b6d2-cfe18f2ebb21" providerId="ADAL" clId="{2A70931E-5AE8-48F9-9F75-4E21451EC19F}" dt="2023-04-07T08:24:28.305" v="17877"/>
          <ac:spMkLst>
            <pc:docMk/>
            <pc:sldMk cId="3558765762" sldId="408"/>
            <ac:spMk id="21" creationId="{C74C2361-CDE4-403F-B93E-35E3BA470722}"/>
          </ac:spMkLst>
        </pc:spChg>
        <pc:spChg chg="add del mod">
          <ac:chgData name="Keisi Kapaj" userId="9c79912a-7b99-418b-b6d2-cfe18f2ebb21" providerId="ADAL" clId="{2A70931E-5AE8-48F9-9F75-4E21451EC19F}" dt="2023-04-05T10:47:11.711" v="2855" actId="478"/>
          <ac:spMkLst>
            <pc:docMk/>
            <pc:sldMk cId="3558765762" sldId="408"/>
            <ac:spMk id="21" creationId="{CCEC2A09-940B-4B50-8C0D-4609A99FA974}"/>
          </ac:spMkLst>
        </pc:spChg>
        <pc:spChg chg="add del mod modVis">
          <ac:chgData name="Keisi Kapaj" userId="9c79912a-7b99-418b-b6d2-cfe18f2ebb21" providerId="ADAL" clId="{2A70931E-5AE8-48F9-9F75-4E21451EC19F}" dt="2023-04-07T08:24:30.728" v="17921"/>
          <ac:spMkLst>
            <pc:docMk/>
            <pc:sldMk cId="3558765762" sldId="408"/>
            <ac:spMk id="22" creationId="{12D7E117-0EC0-4A51-8CC2-C85DFF471A5C}"/>
          </ac:spMkLst>
        </pc:spChg>
        <pc:spChg chg="add del mod modVis">
          <ac:chgData name="Keisi Kapaj" userId="9c79912a-7b99-418b-b6d2-cfe18f2ebb21" providerId="ADAL" clId="{2A70931E-5AE8-48F9-9F75-4E21451EC19F}" dt="2023-04-07T08:24:45.238" v="17965"/>
          <ac:spMkLst>
            <pc:docMk/>
            <pc:sldMk cId="3558765762" sldId="408"/>
            <ac:spMk id="24" creationId="{9C67F605-3336-451B-933D-1A6B8D630900}"/>
          </ac:spMkLst>
        </pc:spChg>
        <pc:spChg chg="add del mod">
          <ac:chgData name="Keisi Kapaj" userId="9c79912a-7b99-418b-b6d2-cfe18f2ebb21" providerId="ADAL" clId="{2A70931E-5AE8-48F9-9F75-4E21451EC19F}" dt="2023-04-05T10:44:36.205" v="2834" actId="767"/>
          <ac:spMkLst>
            <pc:docMk/>
            <pc:sldMk cId="3558765762" sldId="408"/>
            <ac:spMk id="29" creationId="{1E729B47-E077-45E4-837E-E19C7699CD65}"/>
          </ac:spMkLst>
        </pc:spChg>
        <pc:spChg chg="add del mod">
          <ac:chgData name="Keisi Kapaj" userId="9c79912a-7b99-418b-b6d2-cfe18f2ebb21" providerId="ADAL" clId="{2A70931E-5AE8-48F9-9F75-4E21451EC19F}" dt="2023-04-05T10:45:03.068" v="2840"/>
          <ac:spMkLst>
            <pc:docMk/>
            <pc:sldMk cId="3558765762" sldId="408"/>
            <ac:spMk id="30" creationId="{007A4E5D-24DC-494F-A47A-46356E708D37}"/>
          </ac:spMkLst>
        </pc:spChg>
        <pc:spChg chg="add 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31" creationId="{99656C1E-C77F-419F-907C-4B2CEDBA8F32}"/>
          </ac:spMkLst>
        </pc:spChg>
        <pc:spChg chg="add 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32" creationId="{08D942BB-280A-4623-B36A-774E8BECAD56}"/>
          </ac:spMkLst>
        </pc:spChg>
        <pc:spChg chg="add mo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33" creationId="{0D843C9B-8ED5-46F9-9DCA-DA464AD4F8C6}"/>
          </ac:spMkLst>
        </pc:spChg>
        <pc:spChg chg="add del mod">
          <ac:chgData name="Keisi Kapaj" userId="9c79912a-7b99-418b-b6d2-cfe18f2ebb21" providerId="ADAL" clId="{2A70931E-5AE8-48F9-9F75-4E21451EC19F}" dt="2023-04-05T10:48:23.078" v="2862" actId="478"/>
          <ac:spMkLst>
            <pc:docMk/>
            <pc:sldMk cId="3558765762" sldId="408"/>
            <ac:spMk id="36" creationId="{7A8F3645-6470-4777-B8F4-5C360FA8443E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37" creationId="{6DEE2AFE-F3A3-4A1E-AC55-293E1E40A815}"/>
          </ac:spMkLst>
        </pc:spChg>
        <pc:spChg chg="del mod">
          <ac:chgData name="Keisi Kapaj" userId="9c79912a-7b99-418b-b6d2-cfe18f2ebb21" providerId="ADAL" clId="{2A70931E-5AE8-48F9-9F75-4E21451EC19F}" dt="2023-04-05T10:49:58.439" v="2881" actId="478"/>
          <ac:spMkLst>
            <pc:docMk/>
            <pc:sldMk cId="3558765762" sldId="408"/>
            <ac:spMk id="41" creationId="{F2A6AF8F-617E-48D5-8ABA-78A36C9558B3}"/>
          </ac:spMkLst>
        </pc:spChg>
        <pc:spChg chg="del mod">
          <ac:chgData name="Keisi Kapaj" userId="9c79912a-7b99-418b-b6d2-cfe18f2ebb21" providerId="ADAL" clId="{2A70931E-5AE8-48F9-9F75-4E21451EC19F}" dt="2023-04-05T10:50:13.959" v="2883" actId="478"/>
          <ac:spMkLst>
            <pc:docMk/>
            <pc:sldMk cId="3558765762" sldId="408"/>
            <ac:spMk id="43" creationId="{2BC50BB9-35B5-405C-88A8-0CC44BD8285C}"/>
          </ac:spMkLst>
        </pc:spChg>
        <pc:spChg chg="del mod">
          <ac:chgData name="Keisi Kapaj" userId="9c79912a-7b99-418b-b6d2-cfe18f2ebb21" providerId="ADAL" clId="{2A70931E-5AE8-48F9-9F75-4E21451EC19F}" dt="2023-04-05T10:50:02.720" v="2882" actId="478"/>
          <ac:spMkLst>
            <pc:docMk/>
            <pc:sldMk cId="3558765762" sldId="408"/>
            <ac:spMk id="44" creationId="{9FE89EF6-AD6F-4472-B5C4-2B9CA8902257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45" creationId="{9CF453CD-37C9-412D-B304-D8B22F1859EB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46" creationId="{2A837699-BCFD-4510-8F68-4EB417993C47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47" creationId="{21FE6E57-AC9A-4BA4-B48D-6ABD4A20820E}"/>
          </ac:spMkLst>
        </pc:spChg>
        <pc:spChg chg="add del mod modVis">
          <ac:chgData name="Keisi Kapaj" userId="9c79912a-7b99-418b-b6d2-cfe18f2ebb21" providerId="ADAL" clId="{2A70931E-5AE8-48F9-9F75-4E21451EC19F}" dt="2023-04-05T10:53:37.499" v="2951"/>
          <ac:spMkLst>
            <pc:docMk/>
            <pc:sldMk cId="3558765762" sldId="408"/>
            <ac:spMk id="48" creationId="{77C5550A-94EF-4E45-BA44-06542B3E4C7C}"/>
          </ac:spMkLst>
        </pc:spChg>
        <pc:spChg chg="add del mod modVis">
          <ac:chgData name="Keisi Kapaj" userId="9c79912a-7b99-418b-b6d2-cfe18f2ebb21" providerId="ADAL" clId="{2A70931E-5AE8-48F9-9F75-4E21451EC19F}" dt="2023-04-05T10:53:53.857" v="2996"/>
          <ac:spMkLst>
            <pc:docMk/>
            <pc:sldMk cId="3558765762" sldId="408"/>
            <ac:spMk id="49" creationId="{9C840B5B-4682-40BE-8107-5D4B6141A338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50" creationId="{B4B386BD-6E99-4258-86D3-9D520AD2F5B9}"/>
          </ac:spMkLst>
        </pc:spChg>
        <pc:spChg chg="add mod ord">
          <ac:chgData name="Keisi Kapaj" userId="9c79912a-7b99-418b-b6d2-cfe18f2ebb21" providerId="ADAL" clId="{2A70931E-5AE8-48F9-9F75-4E21451EC19F}" dt="2023-04-07T08:24:44.932" v="17924" actId="2711"/>
          <ac:spMkLst>
            <pc:docMk/>
            <pc:sldMk cId="3558765762" sldId="408"/>
            <ac:spMk id="51" creationId="{3C686E9B-CA6C-4586-A5C2-5BE3328552FB}"/>
          </ac:spMkLst>
        </pc:spChg>
        <pc:grpChg chg="add mod ord">
          <ac:chgData name="Keisi Kapaj" userId="9c79912a-7b99-418b-b6d2-cfe18f2ebb21" providerId="ADAL" clId="{2A70931E-5AE8-48F9-9F75-4E21451EC19F}" dt="2023-04-05T14:30:50.394" v="4001"/>
          <ac:grpSpMkLst>
            <pc:docMk/>
            <pc:sldMk cId="3558765762" sldId="408"/>
            <ac:grpSpMk id="8" creationId="{B35955FE-596D-4E16-A030-BC2AEEE7EB15}"/>
          </ac:grpSpMkLst>
        </pc:grpChg>
        <pc:grpChg chg="add mod">
          <ac:chgData name="Keisi Kapaj" userId="9c79912a-7b99-418b-b6d2-cfe18f2ebb21" providerId="ADAL" clId="{2A70931E-5AE8-48F9-9F75-4E21451EC19F}" dt="2023-04-05T10:47:57.305" v="2858" actId="164"/>
          <ac:grpSpMkLst>
            <pc:docMk/>
            <pc:sldMk cId="3558765762" sldId="408"/>
            <ac:grpSpMk id="34" creationId="{8733AEFD-580B-4B97-AF64-0E0F248FBAC1}"/>
          </ac:grpSpMkLst>
        </pc:grpChg>
        <pc:grpChg chg="add mod ord">
          <ac:chgData name="Keisi Kapaj" userId="9c79912a-7b99-418b-b6d2-cfe18f2ebb21" providerId="ADAL" clId="{2A70931E-5AE8-48F9-9F75-4E21451EC19F}" dt="2023-04-05T14:30:50.398" v="4009"/>
          <ac:grpSpMkLst>
            <pc:docMk/>
            <pc:sldMk cId="3558765762" sldId="408"/>
            <ac:grpSpMk id="35" creationId="{36A39FBB-8752-40C2-8D9D-D62CB215B7B4}"/>
          </ac:grpSpMkLst>
        </pc:grpChg>
        <pc:grpChg chg="add mod ord">
          <ac:chgData name="Keisi Kapaj" userId="9c79912a-7b99-418b-b6d2-cfe18f2ebb21" providerId="ADAL" clId="{2A70931E-5AE8-48F9-9F75-4E21451EC19F}" dt="2023-04-05T14:31:31.439" v="4048" actId="1038"/>
          <ac:grpSpMkLst>
            <pc:docMk/>
            <pc:sldMk cId="3558765762" sldId="408"/>
            <ac:grpSpMk id="38" creationId="{3CCD6DC9-EDA6-42D3-9053-461ECAC1F866}"/>
          </ac:grpSpMkLst>
        </pc:grpChg>
        <pc:grpChg chg="del mod">
          <ac:chgData name="Keisi Kapaj" userId="9c79912a-7b99-418b-b6d2-cfe18f2ebb21" providerId="ADAL" clId="{2A70931E-5AE8-48F9-9F75-4E21451EC19F}" dt="2023-04-05T10:50:13.959" v="2883" actId="478"/>
          <ac:grpSpMkLst>
            <pc:docMk/>
            <pc:sldMk cId="3558765762" sldId="408"/>
            <ac:grpSpMk id="40" creationId="{F1AF9EA4-710E-4C60-B4DA-1FB6E6A9A248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4:45.246" v="17967"/>
          <ac:graphicFrameMkLst>
            <pc:docMk/>
            <pc:sldMk cId="3558765762" sldId="408"/>
            <ac:graphicFrameMk id="17" creationId="{B2749752-4AA6-4562-86D2-3A256AC1C5A4}"/>
          </ac:graphicFrameMkLst>
        </pc:graphicFrameChg>
        <pc:cxnChg chg="add mod">
          <ac:chgData name="Keisi Kapaj" userId="9c79912a-7b99-418b-b6d2-cfe18f2ebb21" providerId="ADAL" clId="{2A70931E-5AE8-48F9-9F75-4E21451EC19F}" dt="2023-04-05T10:47:57.305" v="2858" actId="164"/>
          <ac:cxnSpMkLst>
            <pc:docMk/>
            <pc:sldMk cId="3558765762" sldId="408"/>
            <ac:cxnSpMk id="23" creationId="{C3D1BF55-A156-4F0C-AA99-EA9586A22DC1}"/>
          </ac:cxnSpMkLst>
        </pc:cxnChg>
        <pc:cxnChg chg="add mod">
          <ac:chgData name="Keisi Kapaj" userId="9c79912a-7b99-418b-b6d2-cfe18f2ebb21" providerId="ADAL" clId="{2A70931E-5AE8-48F9-9F75-4E21451EC19F}" dt="2023-04-05T14:24:45.233" v="3935" actId="14100"/>
          <ac:cxnSpMkLst>
            <pc:docMk/>
            <pc:sldMk cId="3558765762" sldId="408"/>
            <ac:cxnSpMk id="26" creationId="{84E2471F-9E35-4F28-B8E4-12C343927D40}"/>
          </ac:cxnSpMkLst>
        </pc:cxnChg>
        <pc:cxnChg chg="mod">
          <ac:chgData name="Keisi Kapaj" userId="9c79912a-7b99-418b-b6d2-cfe18f2ebb21" providerId="ADAL" clId="{2A70931E-5AE8-48F9-9F75-4E21451EC19F}" dt="2023-04-05T10:49:33.431" v="2876"/>
          <ac:cxnSpMkLst>
            <pc:docMk/>
            <pc:sldMk cId="3558765762" sldId="408"/>
            <ac:cxnSpMk id="39" creationId="{E61A790D-ED11-41FE-B405-EC0E0E508B8B}"/>
          </ac:cxnSpMkLst>
        </pc:cxnChg>
        <pc:cxnChg chg="mod">
          <ac:chgData name="Keisi Kapaj" userId="9c79912a-7b99-418b-b6d2-cfe18f2ebb21" providerId="ADAL" clId="{2A70931E-5AE8-48F9-9F75-4E21451EC19F}" dt="2023-04-05T10:49:33.431" v="2876"/>
          <ac:cxnSpMkLst>
            <pc:docMk/>
            <pc:sldMk cId="3558765762" sldId="408"/>
            <ac:cxnSpMk id="42" creationId="{34E55C31-B5CB-4039-9A0F-6FD44381CD42}"/>
          </ac:cxnSpMkLst>
        </pc:cxnChg>
      </pc:sldChg>
      <pc:sldChg chg="addSp delSp modSp new add mod">
        <pc:chgData name="Keisi Kapaj" userId="9c79912a-7b99-418b-b6d2-cfe18f2ebb21" providerId="ADAL" clId="{2A70931E-5AE8-48F9-9F75-4E21451EC19F}" dt="2023-04-07T09:04:37.765" v="18201"/>
        <pc:sldMkLst>
          <pc:docMk/>
          <pc:sldMk cId="2223331212" sldId="409"/>
        </pc:sldMkLst>
        <pc:spChg chg="mod">
          <ac:chgData name="Keisi Kapaj" userId="9c79912a-7b99-418b-b6d2-cfe18f2ebb21" providerId="ADAL" clId="{2A70931E-5AE8-48F9-9F75-4E21451EC19F}" dt="2023-04-07T08:26:41.946" v="18066" actId="948"/>
          <ac:spMkLst>
            <pc:docMk/>
            <pc:sldMk cId="2223331212" sldId="409"/>
            <ac:spMk id="2" creationId="{7FF4DEAD-F11E-4BE3-9E3B-0F9A0C63D238}"/>
          </ac:spMkLst>
        </pc:spChg>
        <pc:spChg chg="mod">
          <ac:chgData name="Keisi Kapaj" userId="9c79912a-7b99-418b-b6d2-cfe18f2ebb21" providerId="ADAL" clId="{2A70931E-5AE8-48F9-9F75-4E21451EC19F}" dt="2023-04-07T08:57:29.358" v="18143" actId="5793"/>
          <ac:spMkLst>
            <pc:docMk/>
            <pc:sldMk cId="2223331212" sldId="409"/>
            <ac:spMk id="3" creationId="{1170F304-63DA-4439-8F8A-0EF32B76E305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4" creationId="{BF3F7207-1572-4DB6-A3CD-7B09646DD372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5" creationId="{2D729FE9-99BD-40FE-8D2C-18D2B61BC23A}"/>
          </ac:spMkLst>
        </pc:spChg>
        <pc:spChg chg="mod">
          <ac:chgData name="Keisi Kapaj" userId="9c79912a-7b99-418b-b6d2-cfe18f2ebb21" providerId="ADAL" clId="{2A70931E-5AE8-48F9-9F75-4E21451EC19F}" dt="2023-04-07T08:26:48.685" v="18109" actId="403"/>
          <ac:spMkLst>
            <pc:docMk/>
            <pc:sldMk cId="2223331212" sldId="409"/>
            <ac:spMk id="6" creationId="{EE300D10-517D-435A-9C88-FCCA743CC746}"/>
          </ac:spMkLst>
        </pc:spChg>
        <pc:spChg chg="del mod">
          <ac:chgData name="Keisi Kapaj" userId="9c79912a-7b99-418b-b6d2-cfe18f2ebb21" providerId="ADAL" clId="{2A70931E-5AE8-48F9-9F75-4E21451EC19F}" dt="2023-04-07T08:23:50.533" v="17742" actId="478"/>
          <ac:spMkLst>
            <pc:docMk/>
            <pc:sldMk cId="2223331212" sldId="409"/>
            <ac:spMk id="7" creationId="{D34053F1-B131-4227-A6B0-0E8A58887EEF}"/>
          </ac:spMkLst>
        </pc:spChg>
        <pc:spChg chg="mod">
          <ac:chgData name="Keisi Kapaj" userId="9c79912a-7b99-418b-b6d2-cfe18f2ebb21" providerId="ADAL" clId="{2A70931E-5AE8-48F9-9F75-4E21451EC19F}" dt="2023-04-07T08:26:52.255" v="18110" actId="403"/>
          <ac:spMkLst>
            <pc:docMk/>
            <pc:sldMk cId="2223331212" sldId="409"/>
            <ac:spMk id="8" creationId="{858EC07B-C0A4-4888-8657-DC76E06926E7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0" creationId="{564EE194-BD3D-43C0-B3EE-9A7445866DFC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1" creationId="{67551D21-2AAC-4870-B25D-4865696C99E5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2" creationId="{1021D89F-A2EC-4574-8D58-A9DB4961B2A0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3" creationId="{A1FCC878-4634-4972-9944-3C0974258E4B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4" creationId="{8A065D39-E8B8-4BC7-A7F9-E1AA068416A3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5" creationId="{A9F82567-24D1-4473-8235-30B27AF9A9AF}"/>
          </ac:spMkLst>
        </pc:spChg>
        <pc:spChg chg="mod">
          <ac:chgData name="Keisi Kapaj" userId="9c79912a-7b99-418b-b6d2-cfe18f2ebb21" providerId="ADAL" clId="{2A70931E-5AE8-48F9-9F75-4E21451EC19F}" dt="2023-04-07T08:26:41.421" v="18065" actId="2711"/>
          <ac:spMkLst>
            <pc:docMk/>
            <pc:sldMk cId="2223331212" sldId="409"/>
            <ac:spMk id="16" creationId="{ACE9F816-6682-46A8-AEF3-6D4236E998A0}"/>
          </ac:spMkLst>
        </pc:spChg>
        <pc:spChg chg="add del mod modVis">
          <ac:chgData name="Keisi Kapaj" userId="9c79912a-7b99-418b-b6d2-cfe18f2ebb21" providerId="ADAL" clId="{2A70931E-5AE8-48F9-9F75-4E21451EC19F}" dt="2023-04-05T18:58:17.240" v="4749"/>
          <ac:spMkLst>
            <pc:docMk/>
            <pc:sldMk cId="2223331212" sldId="409"/>
            <ac:spMk id="17" creationId="{2D19C1CA-BFB0-4AB4-9390-0EBCC2E481D1}"/>
          </ac:spMkLst>
        </pc:spChg>
        <pc:spChg chg="add del mod modVis">
          <ac:chgData name="Keisi Kapaj" userId="9c79912a-7b99-418b-b6d2-cfe18f2ebb21" providerId="ADAL" clId="{2A70931E-5AE8-48F9-9F75-4E21451EC19F}" dt="2023-04-07T08:26:42.095" v="18106"/>
          <ac:spMkLst>
            <pc:docMk/>
            <pc:sldMk cId="2223331212" sldId="409"/>
            <ac:spMk id="17" creationId="{3DF047E7-9BB0-4751-949D-152B15E7A740}"/>
          </ac:spMkLst>
        </pc:spChg>
        <pc:grpChg chg="add mod">
          <ac:chgData name="Keisi Kapaj" userId="9c79912a-7b99-418b-b6d2-cfe18f2ebb21" providerId="ADAL" clId="{2A70931E-5AE8-48F9-9F75-4E21451EC19F}" dt="2023-04-05T18:58:06.032" v="4707"/>
          <ac:grpSpMkLst>
            <pc:docMk/>
            <pc:sldMk cId="2223331212" sldId="409"/>
            <ac:grpSpMk id="9" creationId="{8B7819B4-D5AA-44E9-861D-1B01EFFDCCD1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6:42.105" v="18108"/>
          <ac:graphicFrameMkLst>
            <pc:docMk/>
            <pc:sldMk cId="2223331212" sldId="409"/>
            <ac:graphicFrameMk id="18" creationId="{373C7AEC-EF3F-4C11-9077-15E3C5C2444D}"/>
          </ac:graphicFrameMkLst>
        </pc:graphicFrameChg>
        <pc:picChg chg="add mod">
          <ac:chgData name="Keisi Kapaj" userId="9c79912a-7b99-418b-b6d2-cfe18f2ebb21" providerId="ADAL" clId="{2A70931E-5AE8-48F9-9F75-4E21451EC19F}" dt="2023-04-05T18:59:24.184" v="4773" actId="14100"/>
          <ac:picMkLst>
            <pc:docMk/>
            <pc:sldMk cId="2223331212" sldId="409"/>
            <ac:picMk id="19" creationId="{F5A784C5-6B62-4D69-9364-EA1C5E3E6F30}"/>
          </ac:picMkLst>
        </pc:picChg>
        <pc:picChg chg="add del mod replST">
          <ac:chgData name="Keisi Kapaj" userId="9c79912a-7b99-418b-b6d2-cfe18f2ebb21" providerId="ADAL" clId="{2A70931E-5AE8-48F9-9F75-4E21451EC19F}" dt="2023-04-07T09:04:23.129" v="18164"/>
          <ac:picMkLst>
            <pc:docMk/>
            <pc:sldMk cId="2223331212" sldId="409"/>
            <ac:picMk id="20" creationId="{45B41F22-9989-4C23-AFD5-A90EF0A705C1}"/>
          </ac:picMkLst>
        </pc:picChg>
        <pc:picChg chg="add del mod replST">
          <ac:chgData name="Keisi Kapaj" userId="9c79912a-7b99-418b-b6d2-cfe18f2ebb21" providerId="ADAL" clId="{2A70931E-5AE8-48F9-9F75-4E21451EC19F}" dt="2023-04-07T09:04:37.757" v="18193"/>
          <ac:picMkLst>
            <pc:docMk/>
            <pc:sldMk cId="2223331212" sldId="409"/>
            <ac:picMk id="21" creationId="{9345094B-8256-4CC0-940E-0D86829AA8A5}"/>
          </ac:picMkLst>
        </pc:picChg>
        <pc:picChg chg="add mod replST">
          <ac:chgData name="Keisi Kapaj" userId="9c79912a-7b99-418b-b6d2-cfe18f2ebb21" providerId="ADAL" clId="{2A70931E-5AE8-48F9-9F75-4E21451EC19F}" dt="2023-04-07T09:04:37.765" v="18201"/>
          <ac:picMkLst>
            <pc:docMk/>
            <pc:sldMk cId="2223331212" sldId="409"/>
            <ac:picMk id="22" creationId="{39F5100D-A7B7-4B8E-AA9E-556B8874D01F}"/>
          </ac:picMkLst>
        </pc:picChg>
      </pc:sldChg>
      <pc:sldChg chg="addSp delSp modSp new add mod">
        <pc:chgData name="Keisi Kapaj" userId="9c79912a-7b99-418b-b6d2-cfe18f2ebb21" providerId="ADAL" clId="{2A70931E-5AE8-48F9-9F75-4E21451EC19F}" dt="2023-04-07T08:23:37.651" v="17741"/>
        <pc:sldMkLst>
          <pc:docMk/>
          <pc:sldMk cId="2032946114" sldId="410"/>
        </pc:sldMkLst>
        <pc:spChg chg="mod">
          <ac:chgData name="Keisi Kapaj" userId="9c79912a-7b99-418b-b6d2-cfe18f2ebb21" providerId="ADAL" clId="{2A70931E-5AE8-48F9-9F75-4E21451EC19F}" dt="2023-04-07T08:23:37.553" v="17699" actId="948"/>
          <ac:spMkLst>
            <pc:docMk/>
            <pc:sldMk cId="2032946114" sldId="410"/>
            <ac:spMk id="2" creationId="{66E0805C-B19F-4F10-8E91-A55414A6FC3E}"/>
          </ac:spMkLst>
        </pc:spChg>
        <pc:spChg chg="add del mod">
          <ac:chgData name="Keisi Kapaj" userId="9c79912a-7b99-418b-b6d2-cfe18f2ebb21" providerId="ADAL" clId="{2A70931E-5AE8-48F9-9F75-4E21451EC19F}" dt="2023-04-06T08:16:43.857" v="5902" actId="403"/>
          <ac:spMkLst>
            <pc:docMk/>
            <pc:sldMk cId="2032946114" sldId="410"/>
            <ac:spMk id="3" creationId="{B65A5A9F-13A2-44B7-A030-ED0632917515}"/>
          </ac:spMkLst>
        </pc:spChg>
        <pc:spChg chg="del">
          <ac:chgData name="Keisi Kapaj" userId="9c79912a-7b99-418b-b6d2-cfe18f2ebb21" providerId="ADAL" clId="{2A70931E-5AE8-48F9-9F75-4E21451EC19F}" dt="2023-04-05T19:47:56.180" v="5441"/>
          <ac:spMkLst>
            <pc:docMk/>
            <pc:sldMk cId="2032946114" sldId="410"/>
            <ac:spMk id="3" creationId="{E04157D4-6117-4FBE-BE7C-43F284C61A26}"/>
          </ac:spMkLst>
        </pc:spChg>
        <pc:spChg chg="add del mod modVis">
          <ac:chgData name="Keisi Kapaj" userId="9c79912a-7b99-418b-b6d2-cfe18f2ebb21" providerId="ADAL" clId="{2A70931E-5AE8-48F9-9F75-4E21451EC19F}" dt="2023-04-07T08:23:37.646" v="17739"/>
          <ac:spMkLst>
            <pc:docMk/>
            <pc:sldMk cId="2032946114" sldId="410"/>
            <ac:spMk id="6" creationId="{41ED31A1-57DE-4947-8C9E-149224E957BC}"/>
          </ac:spMkLst>
        </pc:spChg>
        <pc:spChg chg="del mod">
          <ac:chgData name="Keisi Kapaj" userId="9c79912a-7b99-418b-b6d2-cfe18f2ebb21" providerId="ADAL" clId="{2A70931E-5AE8-48F9-9F75-4E21451EC19F}" dt="2023-04-05T19:43:57.334" v="5279" actId="478"/>
          <ac:spMkLst>
            <pc:docMk/>
            <pc:sldMk cId="2032946114" sldId="410"/>
            <ac:spMk id="6" creationId="{C8B957AB-F9BF-49FE-9B7B-ABEBD2F04B7D}"/>
          </ac:spMkLst>
        </pc:spChg>
        <pc:spChg chg="del mod">
          <ac:chgData name="Keisi Kapaj" userId="9c79912a-7b99-418b-b6d2-cfe18f2ebb21" providerId="ADAL" clId="{2A70931E-5AE8-48F9-9F75-4E21451EC19F}" dt="2023-04-06T08:14:00.207" v="5863" actId="478"/>
          <ac:spMkLst>
            <pc:docMk/>
            <pc:sldMk cId="2032946114" sldId="410"/>
            <ac:spMk id="7" creationId="{BE715775-9204-406F-861D-85F3C98D0B9B}"/>
          </ac:spMkLst>
        </pc:spChg>
        <pc:spChg chg="del mod">
          <ac:chgData name="Keisi Kapaj" userId="9c79912a-7b99-418b-b6d2-cfe18f2ebb21" providerId="ADAL" clId="{2A70931E-5AE8-48F9-9F75-4E21451EC19F}" dt="2023-04-05T19:39:28.786" v="5115" actId="478"/>
          <ac:spMkLst>
            <pc:docMk/>
            <pc:sldMk cId="2032946114" sldId="410"/>
            <ac:spMk id="8" creationId="{62015725-BE88-4378-BDEF-53F93727A518}"/>
          </ac:spMkLst>
        </pc:spChg>
        <pc:spChg chg="add del mod">
          <ac:chgData name="Keisi Kapaj" userId="9c79912a-7b99-418b-b6d2-cfe18f2ebb21" providerId="ADAL" clId="{2A70931E-5AE8-48F9-9F75-4E21451EC19F}" dt="2023-04-06T08:14:05.091" v="5864" actId="478"/>
          <ac:spMkLst>
            <pc:docMk/>
            <pc:sldMk cId="2032946114" sldId="410"/>
            <ac:spMk id="9" creationId="{D07F6C0E-2E79-40D7-92F0-F4B1760D096C}"/>
          </ac:spMkLst>
        </pc:spChg>
        <pc:spChg chg="add del mod modVis">
          <ac:chgData name="Keisi Kapaj" userId="9c79912a-7b99-418b-b6d2-cfe18f2ebb21" providerId="ADAL" clId="{2A70931E-5AE8-48F9-9F75-4E21451EC19F}" dt="2023-04-05T19:37:39.106" v="5076"/>
          <ac:spMkLst>
            <pc:docMk/>
            <pc:sldMk cId="2032946114" sldId="410"/>
            <ac:spMk id="9" creationId="{FD00D3F0-D4A3-45EF-953E-45F5E06644B1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2" creationId="{A84BD454-FCDD-4ADC-A497-12F767540EAD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3" creationId="{27C77DD6-DB3B-4B9A-9664-F662E5949744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4" creationId="{E469BA2C-A1A9-40B1-93B1-085EE67BF424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5" creationId="{3354132F-4C96-4704-9724-DBD3B65815EA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6" creationId="{6C6535B0-FFFC-4055-9702-0727020A19E4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7" creationId="{E9637450-151B-45D2-8F94-45125340F41B}"/>
          </ac:spMkLst>
        </pc:spChg>
        <pc:spChg chg="mod">
          <ac:chgData name="Keisi Kapaj" userId="9c79912a-7b99-418b-b6d2-cfe18f2ebb21" providerId="ADAL" clId="{2A70931E-5AE8-48F9-9F75-4E21451EC19F}" dt="2023-04-05T19:38:11.213" v="5095"/>
          <ac:spMkLst>
            <pc:docMk/>
            <pc:sldMk cId="2032946114" sldId="410"/>
            <ac:spMk id="18" creationId="{D2BB438E-C82B-455C-A924-93291FEAE8A0}"/>
          </ac:spMkLst>
        </pc:spChg>
        <pc:spChg chg="add mod">
          <ac:chgData name="Keisi Kapaj" userId="9c79912a-7b99-418b-b6d2-cfe18f2ebb21" providerId="ADAL" clId="{2A70931E-5AE8-48F9-9F75-4E21451EC19F}" dt="2023-04-06T08:18:11.569" v="5938" actId="1076"/>
          <ac:spMkLst>
            <pc:docMk/>
            <pc:sldMk cId="2032946114" sldId="410"/>
            <ac:spMk id="19" creationId="{16162FD0-1027-46DB-B338-17E3C7EFF5BA}"/>
          </ac:spMkLst>
        </pc:spChg>
        <pc:spChg chg="add del mod">
          <ac:chgData name="Keisi Kapaj" userId="9c79912a-7b99-418b-b6d2-cfe18f2ebb21" providerId="ADAL" clId="{2A70931E-5AE8-48F9-9F75-4E21451EC19F}" dt="2023-04-05T19:39:32.549" v="5116" actId="478"/>
          <ac:spMkLst>
            <pc:docMk/>
            <pc:sldMk cId="2032946114" sldId="410"/>
            <ac:spMk id="20" creationId="{FE06DDA8-B08C-40B0-80C9-E53D7137E592}"/>
          </ac:spMkLst>
        </pc:spChg>
        <pc:spChg chg="add mod">
          <ac:chgData name="Keisi Kapaj" userId="9c79912a-7b99-418b-b6d2-cfe18f2ebb21" providerId="ADAL" clId="{2A70931E-5AE8-48F9-9F75-4E21451EC19F}" dt="2023-04-06T08:17:58.620" v="5936" actId="20577"/>
          <ac:spMkLst>
            <pc:docMk/>
            <pc:sldMk cId="2032946114" sldId="410"/>
            <ac:spMk id="21" creationId="{014AD993-699C-4B60-8054-FB9EA40A3477}"/>
          </ac:spMkLst>
        </pc:spChg>
        <pc:spChg chg="add del mod modVis">
          <ac:chgData name="Keisi Kapaj" userId="9c79912a-7b99-418b-b6d2-cfe18f2ebb21" providerId="ADAL" clId="{2A70931E-5AE8-48F9-9F75-4E21451EC19F}" dt="2023-04-05T19:43:49.430" v="5275"/>
          <ac:spMkLst>
            <pc:docMk/>
            <pc:sldMk cId="2032946114" sldId="410"/>
            <ac:spMk id="21" creationId="{944BD701-08E1-435A-854F-CC253502D626}"/>
          </ac:spMkLst>
        </pc:spChg>
        <pc:spChg chg="add del mod modVis">
          <ac:chgData name="Keisi Kapaj" userId="9c79912a-7b99-418b-b6d2-cfe18f2ebb21" providerId="ADAL" clId="{2A70931E-5AE8-48F9-9F75-4E21451EC19F}" dt="2023-04-05T19:44:06.062" v="5321"/>
          <ac:spMkLst>
            <pc:docMk/>
            <pc:sldMk cId="2032946114" sldId="410"/>
            <ac:spMk id="22" creationId="{D6F3233C-BBD8-412E-A72E-285F1F3A7AEF}"/>
          </ac:spMkLst>
        </pc:spChg>
        <pc:spChg chg="add del mod modVis">
          <ac:chgData name="Keisi Kapaj" userId="9c79912a-7b99-418b-b6d2-cfe18f2ebb21" providerId="ADAL" clId="{2A70931E-5AE8-48F9-9F75-4E21451EC19F}" dt="2023-04-05T19:44:07.147" v="5367"/>
          <ac:spMkLst>
            <pc:docMk/>
            <pc:sldMk cId="2032946114" sldId="410"/>
            <ac:spMk id="23" creationId="{4C65868D-C41E-4C67-86A3-93E58A0B99A7}"/>
          </ac:spMkLst>
        </pc:spChg>
        <pc:spChg chg="add del mod modVis">
          <ac:chgData name="Keisi Kapaj" userId="9c79912a-7b99-418b-b6d2-cfe18f2ebb21" providerId="ADAL" clId="{2A70931E-5AE8-48F9-9F75-4E21451EC19F}" dt="2023-04-05T19:44:09.035" v="5418"/>
          <ac:spMkLst>
            <pc:docMk/>
            <pc:sldMk cId="2032946114" sldId="410"/>
            <ac:spMk id="24" creationId="{AE670EB2-FC1E-4399-ADF1-5C2687090E3A}"/>
          </ac:spMkLst>
        </pc:spChg>
        <pc:grpChg chg="add mod">
          <ac:chgData name="Keisi Kapaj" userId="9c79912a-7b99-418b-b6d2-cfe18f2ebb21" providerId="ADAL" clId="{2A70931E-5AE8-48F9-9F75-4E21451EC19F}" dt="2023-04-05T19:38:14.747" v="5096" actId="14100"/>
          <ac:grpSpMkLst>
            <pc:docMk/>
            <pc:sldMk cId="2032946114" sldId="410"/>
            <ac:grpSpMk id="11" creationId="{D90C4682-D5D9-476E-8216-EC3971643CA5}"/>
          </ac:grpSpMkLst>
        </pc:grpChg>
        <pc:graphicFrameChg chg="add mod ord modVis replST">
          <ac:chgData name="Keisi Kapaj" userId="9c79912a-7b99-418b-b6d2-cfe18f2ebb21" providerId="ADAL" clId="{2A70931E-5AE8-48F9-9F75-4E21451EC19F}" dt="2023-04-07T08:23:37.651" v="17741"/>
          <ac:graphicFrameMkLst>
            <pc:docMk/>
            <pc:sldMk cId="2032946114" sldId="410"/>
            <ac:graphicFrameMk id="10" creationId="{3ED82E8E-5CD1-4DD7-B64B-1DAF3FCB7F4D}"/>
          </ac:graphicFrameMkLst>
        </pc:graphicFrameChg>
        <pc:picChg chg="add del mod replST">
          <ac:chgData name="Keisi Kapaj" userId="9c79912a-7b99-418b-b6d2-cfe18f2ebb21" providerId="ADAL" clId="{2A70931E-5AE8-48F9-9F75-4E21451EC19F}" dt="2023-04-06T08:18:49.261" v="5963"/>
          <ac:picMkLst>
            <pc:docMk/>
            <pc:sldMk cId="2032946114" sldId="410"/>
            <ac:picMk id="6" creationId="{0F580DC2-A3D2-423D-AAC7-373B5B3FE93C}"/>
          </ac:picMkLst>
        </pc:picChg>
        <pc:picChg chg="add mod ord replST">
          <ac:chgData name="Keisi Kapaj" userId="9c79912a-7b99-418b-b6d2-cfe18f2ebb21" providerId="ADAL" clId="{2A70931E-5AE8-48F9-9F75-4E21451EC19F}" dt="2023-04-06T08:18:49.269" v="5971"/>
          <ac:picMkLst>
            <pc:docMk/>
            <pc:sldMk cId="2032946114" sldId="410"/>
            <ac:picMk id="20" creationId="{FA2F5C42-D2E0-4A88-8562-D716B255A9FB}"/>
          </ac:picMkLst>
        </pc:picChg>
        <pc:picChg chg="add del mod replST">
          <ac:chgData name="Keisi Kapaj" userId="9c79912a-7b99-418b-b6d2-cfe18f2ebb21" providerId="ADAL" clId="{2A70931E-5AE8-48F9-9F75-4E21451EC19F}" dt="2023-04-05T19:54:06.947" v="5468" actId="478"/>
          <ac:picMkLst>
            <pc:docMk/>
            <pc:sldMk cId="2032946114" sldId="410"/>
            <ac:picMk id="25" creationId="{2A5CA2F0-57E7-40DA-B16B-4D1AFFC601C4}"/>
          </ac:picMkLst>
        </pc:picChg>
        <pc:picChg chg="add mod replST">
          <ac:chgData name="Keisi Kapaj" userId="9c79912a-7b99-418b-b6d2-cfe18f2ebb21" providerId="ADAL" clId="{2A70931E-5AE8-48F9-9F75-4E21451EC19F}" dt="2023-04-06T08:16:52.206" v="5903" actId="1076"/>
          <ac:picMkLst>
            <pc:docMk/>
            <pc:sldMk cId="2032946114" sldId="410"/>
            <ac:picMk id="26" creationId="{40C251DD-D1BE-4ECF-A6F9-5B945E5571BD}"/>
          </ac:picMkLst>
        </pc:picChg>
      </pc:sldChg>
      <pc:sldChg chg="addSp delSp modSp new add del mod">
        <pc:chgData name="Keisi Kapaj" userId="9c79912a-7b99-418b-b6d2-cfe18f2ebb21" providerId="ADAL" clId="{2A70931E-5AE8-48F9-9F75-4E21451EC19F}" dt="2023-04-06T12:49:37.613" v="15991" actId="2696"/>
        <pc:sldMkLst>
          <pc:docMk/>
          <pc:sldMk cId="1271375846" sldId="411"/>
        </pc:sldMkLst>
        <pc:spChg chg="mod">
          <ac:chgData name="Keisi Kapaj" userId="9c79912a-7b99-418b-b6d2-cfe18f2ebb21" providerId="ADAL" clId="{2A70931E-5AE8-48F9-9F75-4E21451EC19F}" dt="2023-04-06T12:43:17.201" v="15880" actId="948"/>
          <ac:spMkLst>
            <pc:docMk/>
            <pc:sldMk cId="1271375846" sldId="411"/>
            <ac:spMk id="2" creationId="{B96D5E3C-A860-42DD-91B7-2458C4BED140}"/>
          </ac:spMkLst>
        </pc:spChg>
        <pc:spChg chg="mod">
          <ac:chgData name="Keisi Kapaj" userId="9c79912a-7b99-418b-b6d2-cfe18f2ebb21" providerId="ADAL" clId="{2A70931E-5AE8-48F9-9F75-4E21451EC19F}" dt="2023-04-06T12:46:43.293" v="15972" actId="20577"/>
          <ac:spMkLst>
            <pc:docMk/>
            <pc:sldMk cId="1271375846" sldId="411"/>
            <ac:spMk id="3" creationId="{C0D3F27D-22D7-4D93-BE05-357FB2B202F1}"/>
          </ac:spMkLst>
        </pc:spChg>
        <pc:spChg chg="mod">
          <ac:chgData name="Keisi Kapaj" userId="9c79912a-7b99-418b-b6d2-cfe18f2ebb21" providerId="ADAL" clId="{2A70931E-5AE8-48F9-9F75-4E21451EC19F}" dt="2023-04-06T12:43:24.447" v="15937"/>
          <ac:spMkLst>
            <pc:docMk/>
            <pc:sldMk cId="1271375846" sldId="411"/>
            <ac:spMk id="6" creationId="{1C5B0062-39C9-4CDE-BCA8-EA042E299565}"/>
          </ac:spMkLst>
        </pc:spChg>
        <pc:spChg chg="del">
          <ac:chgData name="Keisi Kapaj" userId="9c79912a-7b99-418b-b6d2-cfe18f2ebb21" providerId="ADAL" clId="{2A70931E-5AE8-48F9-9F75-4E21451EC19F}" dt="2023-04-06T12:43:47.351" v="15941" actId="478"/>
          <ac:spMkLst>
            <pc:docMk/>
            <pc:sldMk cId="1271375846" sldId="411"/>
            <ac:spMk id="7" creationId="{94F80FE9-8FA5-474D-8859-D1E5083C439A}"/>
          </ac:spMkLst>
        </pc:spChg>
        <pc:spChg chg="mod">
          <ac:chgData name="Keisi Kapaj" userId="9c79912a-7b99-418b-b6d2-cfe18f2ebb21" providerId="ADAL" clId="{2A70931E-5AE8-48F9-9F75-4E21451EC19F}" dt="2023-04-06T12:43:31.385" v="15938"/>
          <ac:spMkLst>
            <pc:docMk/>
            <pc:sldMk cId="1271375846" sldId="411"/>
            <ac:spMk id="8" creationId="{842B2467-9D05-4A9A-AE75-15424F7D5680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0" creationId="{B0F69540-B2E4-46F1-A0D1-B9842F9CD5B1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1" creationId="{F2CCD5BF-ACE0-405A-89E0-A9E42A8EE0DC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2" creationId="{5294804F-FD09-469B-9C65-23B80E65F7A9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3" creationId="{5D42E327-59C8-4F62-A9BE-949D8D7EB0D0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4" creationId="{75976334-23D1-4D9A-B479-4000A27E90F7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5" creationId="{BCF04E3B-C449-4402-BBBD-5A1BEB38BD71}"/>
          </ac:spMkLst>
        </pc:spChg>
        <pc:spChg chg="mod">
          <ac:chgData name="Keisi Kapaj" userId="9c79912a-7b99-418b-b6d2-cfe18f2ebb21" providerId="ADAL" clId="{2A70931E-5AE8-48F9-9F75-4E21451EC19F}" dt="2023-04-06T12:43:08.895" v="15878"/>
          <ac:spMkLst>
            <pc:docMk/>
            <pc:sldMk cId="1271375846" sldId="411"/>
            <ac:spMk id="16" creationId="{6C2A605C-6E56-4C17-9A15-8351476BC418}"/>
          </ac:spMkLst>
        </pc:spChg>
        <pc:spChg chg="add del mod modVis">
          <ac:chgData name="Keisi Kapaj" userId="9c79912a-7b99-418b-b6d2-cfe18f2ebb21" providerId="ADAL" clId="{2A70931E-5AE8-48F9-9F75-4E21451EC19F}" dt="2023-04-06T12:43:17.358" v="15920"/>
          <ac:spMkLst>
            <pc:docMk/>
            <pc:sldMk cId="1271375846" sldId="411"/>
            <ac:spMk id="17" creationId="{2C22B9E2-6AEE-456C-B85D-FD90F6F06B86}"/>
          </ac:spMkLst>
        </pc:spChg>
        <pc:spChg chg="add del mod">
          <ac:chgData name="Keisi Kapaj" userId="9c79912a-7b99-418b-b6d2-cfe18f2ebb21" providerId="ADAL" clId="{2A70931E-5AE8-48F9-9F75-4E21451EC19F}" dt="2023-04-06T12:45:18.004" v="15962" actId="478"/>
          <ac:spMkLst>
            <pc:docMk/>
            <pc:sldMk cId="1271375846" sldId="411"/>
            <ac:spMk id="20" creationId="{975AB064-6ADE-4598-8D47-2DC17D731054}"/>
          </ac:spMkLst>
        </pc:spChg>
        <pc:grpChg chg="add mod">
          <ac:chgData name="Keisi Kapaj" userId="9c79912a-7b99-418b-b6d2-cfe18f2ebb21" providerId="ADAL" clId="{2A70931E-5AE8-48F9-9F75-4E21451EC19F}" dt="2023-04-06T12:43:08.895" v="15878"/>
          <ac:grpSpMkLst>
            <pc:docMk/>
            <pc:sldMk cId="1271375846" sldId="411"/>
            <ac:grpSpMk id="9" creationId="{DAA9BE79-B637-40D2-AD6E-6086391F936F}"/>
          </ac:grpSpMkLst>
        </pc:grpChg>
        <pc:graphicFrameChg chg="add mod ord modVis replST">
          <ac:chgData name="Keisi Kapaj" userId="9c79912a-7b99-418b-b6d2-cfe18f2ebb21" providerId="ADAL" clId="{2A70931E-5AE8-48F9-9F75-4E21451EC19F}" dt="2023-04-06T12:43:17.541" v="15936"/>
          <ac:graphicFrameMkLst>
            <pc:docMk/>
            <pc:sldMk cId="1271375846" sldId="411"/>
            <ac:graphicFrameMk id="18" creationId="{4B202A7B-81E2-40C8-95FA-AC14846BA55E}"/>
          </ac:graphicFrameMkLst>
        </pc:graphicFrameChg>
        <pc:picChg chg="add mod">
          <ac:chgData name="Keisi Kapaj" userId="9c79912a-7b99-418b-b6d2-cfe18f2ebb21" providerId="ADAL" clId="{2A70931E-5AE8-48F9-9F75-4E21451EC19F}" dt="2023-04-06T12:46:26.138" v="15970" actId="1076"/>
          <ac:picMkLst>
            <pc:docMk/>
            <pc:sldMk cId="1271375846" sldId="411"/>
            <ac:picMk id="19" creationId="{B1F0F77D-56A6-4140-8EF1-762BE688101B}"/>
          </ac:picMkLst>
        </pc:picChg>
        <pc:picChg chg="add del mod">
          <ac:chgData name="Keisi Kapaj" userId="9c79912a-7b99-418b-b6d2-cfe18f2ebb21" providerId="ADAL" clId="{2A70931E-5AE8-48F9-9F75-4E21451EC19F}" dt="2023-04-06T12:47:51.693" v="15973" actId="21"/>
          <ac:picMkLst>
            <pc:docMk/>
            <pc:sldMk cId="1271375846" sldId="411"/>
            <ac:picMk id="21" creationId="{3A6641CA-CAA3-4EE5-A8C7-2146371C8E27}"/>
          </ac:picMkLst>
        </pc:picChg>
      </pc:sldChg>
      <pc:sldChg chg="delSp new add del mod">
        <pc:chgData name="Keisi Kapaj" userId="9c79912a-7b99-418b-b6d2-cfe18f2ebb21" providerId="ADAL" clId="{2A70931E-5AE8-48F9-9F75-4E21451EC19F}" dt="2023-04-07T09:17:55.664" v="18213" actId="2696"/>
        <pc:sldMkLst>
          <pc:docMk/>
          <pc:sldMk cId="2105834954" sldId="411"/>
        </pc:sldMkLst>
        <pc:spChg chg="del">
          <ac:chgData name="Keisi Kapaj" userId="9c79912a-7b99-418b-b6d2-cfe18f2ebb21" providerId="ADAL" clId="{2A70931E-5AE8-48F9-9F75-4E21451EC19F}" dt="2023-04-07T09:17:32.014" v="18209" actId="478"/>
          <ac:spMkLst>
            <pc:docMk/>
            <pc:sldMk cId="2105834954" sldId="411"/>
            <ac:spMk id="2" creationId="{24FE22DD-6785-451C-898C-D68C12C95E89}"/>
          </ac:spMkLst>
        </pc:spChg>
        <pc:spChg chg="del">
          <ac:chgData name="Keisi Kapaj" userId="9c79912a-7b99-418b-b6d2-cfe18f2ebb21" providerId="ADAL" clId="{2A70931E-5AE8-48F9-9F75-4E21451EC19F}" dt="2023-04-07T09:17:36.290" v="18210" actId="478"/>
          <ac:spMkLst>
            <pc:docMk/>
            <pc:sldMk cId="2105834954" sldId="411"/>
            <ac:spMk id="3" creationId="{C79A053A-E0F8-480F-AEB3-7B65E2B8F703}"/>
          </ac:spMkLst>
        </pc:spChg>
        <pc:spChg chg="del">
          <ac:chgData name="Keisi Kapaj" userId="9c79912a-7b99-418b-b6d2-cfe18f2ebb21" providerId="ADAL" clId="{2A70931E-5AE8-48F9-9F75-4E21451EC19F}" dt="2023-04-07T09:17:28.082" v="18208" actId="478"/>
          <ac:spMkLst>
            <pc:docMk/>
            <pc:sldMk cId="2105834954" sldId="411"/>
            <ac:spMk id="4" creationId="{25A66559-529A-412B-BAE6-7D4D063BC6A5}"/>
          </ac:spMkLst>
        </pc:spChg>
        <pc:spChg chg="del">
          <ac:chgData name="Keisi Kapaj" userId="9c79912a-7b99-418b-b6d2-cfe18f2ebb21" providerId="ADAL" clId="{2A70931E-5AE8-48F9-9F75-4E21451EC19F}" dt="2023-04-07T09:17:26.101" v="18207" actId="478"/>
          <ac:spMkLst>
            <pc:docMk/>
            <pc:sldMk cId="2105834954" sldId="411"/>
            <ac:spMk id="5" creationId="{C1BDCC98-15C4-41E6-B744-3DFF29756B42}"/>
          </ac:spMkLst>
        </pc:spChg>
      </pc:sldChg>
      <pc:sldChg chg="new add del">
        <pc:chgData name="Keisi Kapaj" userId="9c79912a-7b99-418b-b6d2-cfe18f2ebb21" providerId="ADAL" clId="{2A70931E-5AE8-48F9-9F75-4E21451EC19F}" dt="2023-04-07T09:17:15.519" v="18204" actId="2696"/>
        <pc:sldMkLst>
          <pc:docMk/>
          <pc:sldMk cId="2264065853" sldId="411"/>
        </pc:sldMkLst>
      </pc:sldChg>
      <pc:sldChg chg="addSp delSp modSp new add del mod">
        <pc:chgData name="Keisi Kapaj" userId="9c79912a-7b99-418b-b6d2-cfe18f2ebb21" providerId="ADAL" clId="{2A70931E-5AE8-48F9-9F75-4E21451EC19F}" dt="2023-04-07T09:23:53.600" v="18292" actId="2696"/>
        <pc:sldMkLst>
          <pc:docMk/>
          <pc:sldMk cId="4255072270" sldId="412"/>
        </pc:sldMkLst>
        <pc:spChg chg="del">
          <ac:chgData name="Keisi Kapaj" userId="9c79912a-7b99-418b-b6d2-cfe18f2ebb21" providerId="ADAL" clId="{2A70931E-5AE8-48F9-9F75-4E21451EC19F}" dt="2023-04-07T09:17:59.393" v="18214" actId="478"/>
          <ac:spMkLst>
            <pc:docMk/>
            <pc:sldMk cId="4255072270" sldId="412"/>
            <ac:spMk id="2" creationId="{5EF17242-7A3A-4180-859C-4321C5D301A9}"/>
          </ac:spMkLst>
        </pc:spChg>
        <pc:spChg chg="del">
          <ac:chgData name="Keisi Kapaj" userId="9c79912a-7b99-418b-b6d2-cfe18f2ebb21" providerId="ADAL" clId="{2A70931E-5AE8-48F9-9F75-4E21451EC19F}" dt="2023-04-07T09:18:03.529" v="18232" actId="478"/>
          <ac:spMkLst>
            <pc:docMk/>
            <pc:sldMk cId="4255072270" sldId="412"/>
            <ac:spMk id="3" creationId="{80BDA684-F398-4224-8B23-AE43CC6462D3}"/>
          </ac:spMkLst>
        </pc:spChg>
        <pc:spChg chg="del">
          <ac:chgData name="Keisi Kapaj" userId="9c79912a-7b99-418b-b6d2-cfe18f2ebb21" providerId="ADAL" clId="{2A70931E-5AE8-48F9-9F75-4E21451EC19F}" dt="2023-04-07T09:18:06.841" v="18233" actId="478"/>
          <ac:spMkLst>
            <pc:docMk/>
            <pc:sldMk cId="4255072270" sldId="412"/>
            <ac:spMk id="4" creationId="{3C402D14-BFAD-4288-8EE9-940E163DD20F}"/>
          </ac:spMkLst>
        </pc:spChg>
        <pc:spChg chg="add mod">
          <ac:chgData name="Keisi Kapaj" userId="9c79912a-7b99-418b-b6d2-cfe18f2ebb21" providerId="ADAL" clId="{2A70931E-5AE8-48F9-9F75-4E21451EC19F}" dt="2023-04-07T09:23:23.685" v="18286" actId="1076"/>
          <ac:spMkLst>
            <pc:docMk/>
            <pc:sldMk cId="4255072270" sldId="412"/>
            <ac:spMk id="8" creationId="{33F982F3-F840-46D2-BB2F-7EE3B934BAF9}"/>
          </ac:spMkLst>
        </pc:spChg>
        <pc:spChg chg="add mod">
          <ac:chgData name="Keisi Kapaj" userId="9c79912a-7b99-418b-b6d2-cfe18f2ebb21" providerId="ADAL" clId="{2A70931E-5AE8-48F9-9F75-4E21451EC19F}" dt="2023-04-07T09:23:28.789" v="18287" actId="1076"/>
          <ac:spMkLst>
            <pc:docMk/>
            <pc:sldMk cId="4255072270" sldId="412"/>
            <ac:spMk id="9" creationId="{2AA1387F-B26D-4657-BA41-DE58930D3169}"/>
          </ac:spMkLst>
        </pc:spChg>
        <pc:graphicFrameChg chg="add mod ord modVis replST">
          <ac:chgData name="Keisi Kapaj" userId="9c79912a-7b99-418b-b6d2-cfe18f2ebb21" providerId="ADAL" clId="{2A70931E-5AE8-48F9-9F75-4E21451EC19F}" dt="2023-04-07T09:18:00.109" v="18231"/>
          <ac:graphicFrameMkLst>
            <pc:docMk/>
            <pc:sldMk cId="4255072270" sldId="412"/>
            <ac:graphicFrameMk id="5" creationId="{6959810F-1FC6-44EA-A32A-0D92E4F45980}"/>
          </ac:graphicFrameMkLst>
        </pc:graphicFrameChg>
        <pc:picChg chg="add mod modCrop">
          <ac:chgData name="Keisi Kapaj" userId="9c79912a-7b99-418b-b6d2-cfe18f2ebb21" providerId="ADAL" clId="{2A70931E-5AE8-48F9-9F75-4E21451EC19F}" dt="2023-04-07T09:23:05.655" v="18285" actId="1076"/>
          <ac:picMkLst>
            <pc:docMk/>
            <pc:sldMk cId="4255072270" sldId="412"/>
            <ac:picMk id="7" creationId="{CE73B2A0-4549-451B-8669-09866D4E2672}"/>
          </ac:picMkLst>
        </pc:picChg>
      </pc:sldChg>
      <pc:sldChg chg="add ord">
        <pc:chgData name="Keisi Kapaj" userId="9c79912a-7b99-418b-b6d2-cfe18f2ebb21" providerId="ADAL" clId="{2A70931E-5AE8-48F9-9F75-4E21451EC19F}" dt="2023-04-07T09:23:41.667" v="18290"/>
        <pc:sldMkLst>
          <pc:docMk/>
          <pc:sldMk cId="1073756542" sldId="413"/>
        </pc:sldMkLst>
      </pc:sldChg>
      <pc:sldChg chg="modSp add mod ord">
        <pc:chgData name="Keisi Kapaj" userId="9c79912a-7b99-418b-b6d2-cfe18f2ebb21" providerId="ADAL" clId="{2A70931E-5AE8-48F9-9F75-4E21451EC19F}" dt="2023-04-07T09:24:22.918" v="18301" actId="14100"/>
        <pc:sldMkLst>
          <pc:docMk/>
          <pc:sldMk cId="869409615" sldId="414"/>
        </pc:sldMkLst>
        <pc:spChg chg="mod">
          <ac:chgData name="Keisi Kapaj" userId="9c79912a-7b99-418b-b6d2-cfe18f2ebb21" providerId="ADAL" clId="{2A70931E-5AE8-48F9-9F75-4E21451EC19F}" dt="2023-04-07T09:24:03.392" v="18297" actId="20577"/>
          <ac:spMkLst>
            <pc:docMk/>
            <pc:sldMk cId="869409615" sldId="414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24:22.918" v="18301" actId="14100"/>
          <ac:spMkLst>
            <pc:docMk/>
            <pc:sldMk cId="869409615" sldId="414"/>
            <ac:spMk id="9" creationId="{2AA1387F-B26D-4657-BA41-DE58930D3169}"/>
          </ac:spMkLst>
        </pc:spChg>
      </pc:sldChg>
      <pc:sldChg chg="modSp add mod">
        <pc:chgData name="Keisi Kapaj" userId="9c79912a-7b99-418b-b6d2-cfe18f2ebb21" providerId="ADAL" clId="{2A70931E-5AE8-48F9-9F75-4E21451EC19F}" dt="2023-04-07T09:25:00.324" v="18310" actId="20577"/>
        <pc:sldMkLst>
          <pc:docMk/>
          <pc:sldMk cId="3013369672" sldId="415"/>
        </pc:sldMkLst>
        <pc:spChg chg="mod">
          <ac:chgData name="Keisi Kapaj" userId="9c79912a-7b99-418b-b6d2-cfe18f2ebb21" providerId="ADAL" clId="{2A70931E-5AE8-48F9-9F75-4E21451EC19F}" dt="2023-04-07T09:24:53.031" v="18305" actId="20577"/>
          <ac:spMkLst>
            <pc:docMk/>
            <pc:sldMk cId="3013369672" sldId="415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25:00.324" v="18310" actId="20577"/>
          <ac:spMkLst>
            <pc:docMk/>
            <pc:sldMk cId="3013369672" sldId="415"/>
            <ac:spMk id="9" creationId="{2AA1387F-B26D-4657-BA41-DE58930D3169}"/>
          </ac:spMkLst>
        </pc:spChg>
      </pc:sldChg>
      <pc:sldChg chg="modSp add mod">
        <pc:chgData name="Keisi Kapaj" userId="9c79912a-7b99-418b-b6d2-cfe18f2ebb21" providerId="ADAL" clId="{2A70931E-5AE8-48F9-9F75-4E21451EC19F}" dt="2023-04-07T09:25:39.418" v="18323" actId="20577"/>
        <pc:sldMkLst>
          <pc:docMk/>
          <pc:sldMk cId="4046060055" sldId="416"/>
        </pc:sldMkLst>
        <pc:spChg chg="mod">
          <ac:chgData name="Keisi Kapaj" userId="9c79912a-7b99-418b-b6d2-cfe18f2ebb21" providerId="ADAL" clId="{2A70931E-5AE8-48F9-9F75-4E21451EC19F}" dt="2023-04-07T09:25:39.418" v="18323" actId="20577"/>
          <ac:spMkLst>
            <pc:docMk/>
            <pc:sldMk cId="4046060055" sldId="416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25:36.933" v="18321" actId="20577"/>
          <ac:spMkLst>
            <pc:docMk/>
            <pc:sldMk cId="4046060055" sldId="416"/>
            <ac:spMk id="9" creationId="{2AA1387F-B26D-4657-BA41-DE58930D3169}"/>
          </ac:spMkLst>
        </pc:spChg>
      </pc:sldChg>
      <pc:sldChg chg="modSp add mod">
        <pc:chgData name="Keisi Kapaj" userId="9c79912a-7b99-418b-b6d2-cfe18f2ebb21" providerId="ADAL" clId="{2A70931E-5AE8-48F9-9F75-4E21451EC19F}" dt="2023-04-07T09:26:01.644" v="18328" actId="207"/>
        <pc:sldMkLst>
          <pc:docMk/>
          <pc:sldMk cId="3128812161" sldId="417"/>
        </pc:sldMkLst>
        <pc:spChg chg="mod">
          <ac:chgData name="Keisi Kapaj" userId="9c79912a-7b99-418b-b6d2-cfe18f2ebb21" providerId="ADAL" clId="{2A70931E-5AE8-48F9-9F75-4E21451EC19F}" dt="2023-04-07T09:25:49.317" v="18326" actId="20577"/>
          <ac:spMkLst>
            <pc:docMk/>
            <pc:sldMk cId="3128812161" sldId="417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26:01.644" v="18328" actId="207"/>
          <ac:spMkLst>
            <pc:docMk/>
            <pc:sldMk cId="3128812161" sldId="417"/>
            <ac:spMk id="9" creationId="{2AA1387F-B26D-4657-BA41-DE58930D3169}"/>
          </ac:spMkLst>
        </pc:spChg>
      </pc:sldChg>
      <pc:sldChg chg="modSp add mod">
        <pc:chgData name="Keisi Kapaj" userId="9c79912a-7b99-418b-b6d2-cfe18f2ebb21" providerId="ADAL" clId="{2A70931E-5AE8-48F9-9F75-4E21451EC19F}" dt="2023-04-07T09:39:12.075" v="18760" actId="20577"/>
        <pc:sldMkLst>
          <pc:docMk/>
          <pc:sldMk cId="1390976325" sldId="418"/>
        </pc:sldMkLst>
        <pc:spChg chg="mod">
          <ac:chgData name="Keisi Kapaj" userId="9c79912a-7b99-418b-b6d2-cfe18f2ebb21" providerId="ADAL" clId="{2A70931E-5AE8-48F9-9F75-4E21451EC19F}" dt="2023-04-07T09:27:06.356" v="18342" actId="20577"/>
          <ac:spMkLst>
            <pc:docMk/>
            <pc:sldMk cId="1390976325" sldId="418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39:12.075" v="18760" actId="20577"/>
          <ac:spMkLst>
            <pc:docMk/>
            <pc:sldMk cId="1390976325" sldId="418"/>
            <ac:spMk id="9" creationId="{2AA1387F-B26D-4657-BA41-DE58930D3169}"/>
          </ac:spMkLst>
        </pc:spChg>
      </pc:sldChg>
      <pc:sldChg chg="modSp add mod">
        <pc:chgData name="Keisi Kapaj" userId="9c79912a-7b99-418b-b6d2-cfe18f2ebb21" providerId="ADAL" clId="{2A70931E-5AE8-48F9-9F75-4E21451EC19F}" dt="2023-04-07T09:39:25.442" v="18766" actId="20577"/>
        <pc:sldMkLst>
          <pc:docMk/>
          <pc:sldMk cId="3697112854" sldId="419"/>
        </pc:sldMkLst>
        <pc:spChg chg="mod">
          <ac:chgData name="Keisi Kapaj" userId="9c79912a-7b99-418b-b6d2-cfe18f2ebb21" providerId="ADAL" clId="{2A70931E-5AE8-48F9-9F75-4E21451EC19F}" dt="2023-04-07T09:27:26.470" v="18346" actId="20577"/>
          <ac:spMkLst>
            <pc:docMk/>
            <pc:sldMk cId="3697112854" sldId="419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39:25.442" v="18766" actId="20577"/>
          <ac:spMkLst>
            <pc:docMk/>
            <pc:sldMk cId="3697112854" sldId="419"/>
            <ac:spMk id="9" creationId="{2AA1387F-B26D-4657-BA41-DE58930D3169}"/>
          </ac:spMkLst>
        </pc:spChg>
      </pc:sldChg>
      <pc:sldChg chg="modSp add mod ord">
        <pc:chgData name="Keisi Kapaj" userId="9c79912a-7b99-418b-b6d2-cfe18f2ebb21" providerId="ADAL" clId="{2A70931E-5AE8-48F9-9F75-4E21451EC19F}" dt="2023-04-07T09:39:32.958" v="18768" actId="20577"/>
        <pc:sldMkLst>
          <pc:docMk/>
          <pc:sldMk cId="418070945" sldId="420"/>
        </pc:sldMkLst>
        <pc:spChg chg="mod">
          <ac:chgData name="Keisi Kapaj" userId="9c79912a-7b99-418b-b6d2-cfe18f2ebb21" providerId="ADAL" clId="{2A70931E-5AE8-48F9-9F75-4E21451EC19F}" dt="2023-04-07T09:28:20.997" v="18359" actId="20577"/>
          <ac:spMkLst>
            <pc:docMk/>
            <pc:sldMk cId="418070945" sldId="420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39:32.958" v="18768" actId="20577"/>
          <ac:spMkLst>
            <pc:docMk/>
            <pc:sldMk cId="418070945" sldId="420"/>
            <ac:spMk id="9" creationId="{2AA1387F-B26D-4657-BA41-DE58930D3169}"/>
          </ac:spMkLst>
        </pc:spChg>
      </pc:sldChg>
      <pc:sldChg chg="addSp delSp modSp add mod ord">
        <pc:chgData name="Keisi Kapaj" userId="9c79912a-7b99-418b-b6d2-cfe18f2ebb21" providerId="ADAL" clId="{2A70931E-5AE8-48F9-9F75-4E21451EC19F}" dt="2023-04-07T09:33:33.015" v="18490" actId="2711"/>
        <pc:sldMkLst>
          <pc:docMk/>
          <pc:sldMk cId="2388009050" sldId="421"/>
        </pc:sldMkLst>
        <pc:spChg chg="add mod">
          <ac:chgData name="Keisi Kapaj" userId="9c79912a-7b99-418b-b6d2-cfe18f2ebb21" providerId="ADAL" clId="{2A70931E-5AE8-48F9-9F75-4E21451EC19F}" dt="2023-04-07T09:33:33.015" v="18490" actId="2711"/>
          <ac:spMkLst>
            <pc:docMk/>
            <pc:sldMk cId="2388009050" sldId="421"/>
            <ac:spMk id="2" creationId="{6D3FAF3C-4FC4-444D-97F0-B7DC7EEC1B90}"/>
          </ac:spMkLst>
        </pc:spChg>
        <pc:spChg chg="del">
          <ac:chgData name="Keisi Kapaj" userId="9c79912a-7b99-418b-b6d2-cfe18f2ebb21" providerId="ADAL" clId="{2A70931E-5AE8-48F9-9F75-4E21451EC19F}" dt="2023-04-07T09:30:11.119" v="18369" actId="478"/>
          <ac:spMkLst>
            <pc:docMk/>
            <pc:sldMk cId="2388009050" sldId="421"/>
            <ac:spMk id="8" creationId="{33F982F3-F840-46D2-BB2F-7EE3B934BAF9}"/>
          </ac:spMkLst>
        </pc:spChg>
        <pc:spChg chg="mod">
          <ac:chgData name="Keisi Kapaj" userId="9c79912a-7b99-418b-b6d2-cfe18f2ebb21" providerId="ADAL" clId="{2A70931E-5AE8-48F9-9F75-4E21451EC19F}" dt="2023-04-07T09:31:27.946" v="18388" actId="113"/>
          <ac:spMkLst>
            <pc:docMk/>
            <pc:sldMk cId="2388009050" sldId="421"/>
            <ac:spMk id="9" creationId="{2AA1387F-B26D-4657-BA41-DE58930D3169}"/>
          </ac:spMkLst>
        </pc:spChg>
        <pc:picChg chg="mod">
          <ac:chgData name="Keisi Kapaj" userId="9c79912a-7b99-418b-b6d2-cfe18f2ebb21" providerId="ADAL" clId="{2A70931E-5AE8-48F9-9F75-4E21451EC19F}" dt="2023-04-07T09:30:21.220" v="18372" actId="1076"/>
          <ac:picMkLst>
            <pc:docMk/>
            <pc:sldMk cId="2388009050" sldId="421"/>
            <ac:picMk id="7" creationId="{CE73B2A0-4549-451B-8669-09866D4E2672}"/>
          </ac:picMkLst>
        </pc:picChg>
      </pc:sldChg>
      <pc:sldChg chg="new add del ord">
        <pc:chgData name="Keisi Kapaj" userId="9c79912a-7b99-418b-b6d2-cfe18f2ebb21" providerId="ADAL" clId="{2A70931E-5AE8-48F9-9F75-4E21451EC19F}" dt="2023-04-30T12:10:38.090" v="18799" actId="2696"/>
        <pc:sldMkLst>
          <pc:docMk/>
          <pc:sldMk cId="3254244834" sldId="422"/>
        </pc:sldMkLst>
      </pc:sldChg>
      <pc:sldChg chg="addSp delSp modSp new add mod">
        <pc:chgData name="Keisi Kapaj" userId="9c79912a-7b99-418b-b6d2-cfe18f2ebb21" providerId="ADAL" clId="{2A70931E-5AE8-48F9-9F75-4E21451EC19F}" dt="2023-04-30T12:20:09.983" v="19012"/>
        <pc:sldMkLst>
          <pc:docMk/>
          <pc:sldMk cId="3309651971" sldId="422"/>
        </pc:sldMkLst>
        <pc:spChg chg="mod">
          <ac:chgData name="Keisi Kapaj" userId="9c79912a-7b99-418b-b6d2-cfe18f2ebb21" providerId="ADAL" clId="{2A70931E-5AE8-48F9-9F75-4E21451EC19F}" dt="2023-04-30T12:20:09.883" v="18970" actId="948"/>
          <ac:spMkLst>
            <pc:docMk/>
            <pc:sldMk cId="3309651971" sldId="422"/>
            <ac:spMk id="2" creationId="{83EB8722-41B2-481F-839C-2C67DD67BDA9}"/>
          </ac:spMkLst>
        </pc:spChg>
        <pc:spChg chg="del">
          <ac:chgData name="Keisi Kapaj" userId="9c79912a-7b99-418b-b6d2-cfe18f2ebb21" providerId="ADAL" clId="{2A70931E-5AE8-48F9-9F75-4E21451EC19F}" dt="2023-04-30T12:19:26.641" v="18963" actId="478"/>
          <ac:spMkLst>
            <pc:docMk/>
            <pc:sldMk cId="3309651971" sldId="422"/>
            <ac:spMk id="3" creationId="{09900821-EE70-4831-8F8E-D0FFEF2A7B1F}"/>
          </ac:spMkLst>
        </pc:spChg>
        <pc:spChg chg="del">
          <ac:chgData name="Keisi Kapaj" userId="9c79912a-7b99-418b-b6d2-cfe18f2ebb21" providerId="ADAL" clId="{2A70931E-5AE8-48F9-9F75-4E21451EC19F}" dt="2023-04-30T12:19:30.094" v="18964" actId="478"/>
          <ac:spMkLst>
            <pc:docMk/>
            <pc:sldMk cId="3309651971" sldId="422"/>
            <ac:spMk id="4" creationId="{E8868338-AE17-43F0-A666-41A386B60A68}"/>
          </ac:spMkLst>
        </pc:spChg>
        <pc:spChg chg="add del mod modVis">
          <ac:chgData name="Keisi Kapaj" userId="9c79912a-7b99-418b-b6d2-cfe18f2ebb21" providerId="ADAL" clId="{2A70931E-5AE8-48F9-9F75-4E21451EC19F}" dt="2023-04-30T12:19:15.707" v="18870"/>
          <ac:spMkLst>
            <pc:docMk/>
            <pc:sldMk cId="3309651971" sldId="422"/>
            <ac:spMk id="6" creationId="{5908D3C6-9877-4814-9E4A-5CD9892B7A5E}"/>
          </ac:spMkLst>
        </pc:spChg>
        <pc:spChg chg="add del mod modVis">
          <ac:chgData name="Keisi Kapaj" userId="9c79912a-7b99-418b-b6d2-cfe18f2ebb21" providerId="ADAL" clId="{2A70931E-5AE8-48F9-9F75-4E21451EC19F}" dt="2023-04-30T12:19:16.573" v="18916"/>
          <ac:spMkLst>
            <pc:docMk/>
            <pc:sldMk cId="3309651971" sldId="422"/>
            <ac:spMk id="7" creationId="{6A82C98B-C67E-4950-BC5D-6DB49053CF9F}"/>
          </ac:spMkLst>
        </pc:spChg>
        <pc:spChg chg="add del mod modVis">
          <ac:chgData name="Keisi Kapaj" userId="9c79912a-7b99-418b-b6d2-cfe18f2ebb21" providerId="ADAL" clId="{2A70931E-5AE8-48F9-9F75-4E21451EC19F}" dt="2023-04-30T12:19:17.623" v="18960"/>
          <ac:spMkLst>
            <pc:docMk/>
            <pc:sldMk cId="3309651971" sldId="422"/>
            <ac:spMk id="8" creationId="{CE5DA980-5D41-42ED-BE1B-97E46B676DE8}"/>
          </ac:spMkLst>
        </pc:spChg>
        <pc:spChg chg="add del mod modVis">
          <ac:chgData name="Keisi Kapaj" userId="9c79912a-7b99-418b-b6d2-cfe18f2ebb21" providerId="ADAL" clId="{2A70931E-5AE8-48F9-9F75-4E21451EC19F}" dt="2023-04-30T12:20:09.983" v="19010"/>
          <ac:spMkLst>
            <pc:docMk/>
            <pc:sldMk cId="3309651971" sldId="422"/>
            <ac:spMk id="9" creationId="{033F4F91-A3D0-4259-8D4E-CAC82E1B23D3}"/>
          </ac:spMkLst>
        </pc:spChg>
        <pc:graphicFrameChg chg="add mod ord modVis replST">
          <ac:chgData name="Keisi Kapaj" userId="9c79912a-7b99-418b-b6d2-cfe18f2ebb21" providerId="ADAL" clId="{2A70931E-5AE8-48F9-9F75-4E21451EC19F}" dt="2023-04-30T12:20:09.983" v="19012"/>
          <ac:graphicFrameMkLst>
            <pc:docMk/>
            <pc:sldMk cId="3309651971" sldId="422"/>
            <ac:graphicFrameMk id="5" creationId="{51D6BB24-85D4-4EB8-82A5-2233AB9BB690}"/>
          </ac:graphicFrameMkLst>
        </pc:graphicFrameChg>
      </pc:sldChg>
      <pc:sldMasterChg chg="addSp delSp modSp mod">
        <pc:chgData name="Keisi Kapaj" userId="9c79912a-7b99-418b-b6d2-cfe18f2ebb21" providerId="ADAL" clId="{2A70931E-5AE8-48F9-9F75-4E21451EC19F}" dt="2023-04-04T14:34:42.544" v="123"/>
        <pc:sldMasterMkLst>
          <pc:docMk/>
          <pc:sldMasterMk cId="481570018" sldId="2147483648"/>
        </pc:sldMasterMkLst>
        <pc:spChg chg="mod">
          <ac:chgData name="Keisi Kapaj" userId="9c79912a-7b99-418b-b6d2-cfe18f2ebb21" providerId="ADAL" clId="{2A70931E-5AE8-48F9-9F75-4E21451EC19F}" dt="2023-04-04T14:34:42.291" v="29" actId="948"/>
          <ac:spMkLst>
            <pc:docMk/>
            <pc:sldMasterMk cId="481570018" sldId="2147483648"/>
            <ac:spMk id="2" creationId="{AF53C6A3-D2B2-4B1D-8A39-1D2DC241E5A7}"/>
          </ac:spMkLst>
        </pc:spChg>
        <pc:spChg chg="add del mod modVis">
          <ac:chgData name="Keisi Kapaj" userId="9c79912a-7b99-418b-b6d2-cfe18f2ebb21" providerId="ADAL" clId="{2A70931E-5AE8-48F9-9F75-4E21451EC19F}" dt="2023-04-04T14:34:42.423" v="107"/>
          <ac:spMkLst>
            <pc:docMk/>
            <pc:sldMasterMk cId="481570018" sldId="2147483648"/>
            <ac:spMk id="5" creationId="{3716DFDE-DE79-4078-991C-889B94A59A37}"/>
          </ac:spMkLst>
        </pc:spChg>
        <pc:graphicFrameChg chg="add mod ord modVis replST">
          <ac:chgData name="Keisi Kapaj" userId="9c79912a-7b99-418b-b6d2-cfe18f2ebb21" providerId="ADAL" clId="{2A70931E-5AE8-48F9-9F75-4E21451EC19F}" dt="2023-04-04T14:34:42.544" v="123"/>
          <ac:graphicFrameMkLst>
            <pc:docMk/>
            <pc:sldMasterMk cId="481570018" sldId="2147483648"/>
            <ac:graphicFrameMk id="8" creationId="{E8125739-90A2-490D-9855-D7F9858649FD}"/>
          </ac:graphicFrameMkLst>
        </pc:graphicFrameChg>
      </pc:sldMasterChg>
      <pc:sldMasterChg chg="addSp modSp mod">
        <pc:chgData name="Keisi Kapaj" userId="9c79912a-7b99-418b-b6d2-cfe18f2ebb21" providerId="ADAL" clId="{2A70931E-5AE8-48F9-9F75-4E21451EC19F}" dt="2023-04-04T14:34:42.575" v="139"/>
        <pc:sldMasterMkLst>
          <pc:docMk/>
          <pc:sldMasterMk cId="2004795629" sldId="2147483665"/>
        </pc:sldMasterMkLst>
        <pc:graphicFrameChg chg="add mod ord modVis replST">
          <ac:chgData name="Keisi Kapaj" userId="9c79912a-7b99-418b-b6d2-cfe18f2ebb21" providerId="ADAL" clId="{2A70931E-5AE8-48F9-9F75-4E21451EC19F}" dt="2023-04-04T14:34:42.575" v="139"/>
          <ac:graphicFrameMkLst>
            <pc:docMk/>
            <pc:sldMasterMk cId="2004795629" sldId="2147483665"/>
            <ac:graphicFrameMk id="2" creationId="{AA29686E-D615-4DBA-9EBF-603C36795415}"/>
          </ac:graphicFrameMkLst>
        </pc:graphicFrame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https://people.ey.com/personal/keisi_kapaj_al_ey_com/Documents/Desktop/Keisi's/WEO2022_Free_Dataset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C:\Users\nad\Desktop\Swiss%20Data\60%20Min%20MAP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IEA, World Electricity Sector </a:t>
            </a:r>
            <a:r>
              <a:rPr lang="en-US" sz="1400" dirty="0"/>
              <a:t>– </a:t>
            </a:r>
            <a:r>
              <a:rPr lang="en-US" sz="1400" i="1" dirty="0"/>
              <a:t>Net-Zero-by-2050</a:t>
            </a:r>
          </a:p>
        </c:rich>
      </c:tx>
      <c:layout>
        <c:manualLayout>
          <c:xMode val="edge"/>
          <c:yMode val="edge"/>
          <c:x val="0.1628656766443411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763784703169652"/>
          <c:y val="0.10658832298530657"/>
          <c:w val="0.83687097482349548"/>
          <c:h val="0.602937412279658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WORLD_Elec_NZE!$AD$10</c:f>
              <c:strCache>
                <c:ptCount val="1"/>
                <c:pt idx="0">
                  <c:v>  Solar PV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0:$AH$10</c:f>
              <c:numCache>
                <c:formatCode>#\ ##0\ \ \ \ ;\-#\ ##0\ \ \ \ ;\-\ \ \ \ </c:formatCode>
                <c:ptCount val="4"/>
                <c:pt idx="0">
                  <c:v>1002.85</c:v>
                </c:pt>
                <c:pt idx="1">
                  <c:v>7551.6</c:v>
                </c:pt>
                <c:pt idx="2">
                  <c:v>19238.8</c:v>
                </c:pt>
                <c:pt idx="3">
                  <c:v>2700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C2-4910-AF9C-E3177D23FEF8}"/>
            </c:ext>
          </c:extLst>
        </c:ser>
        <c:ser>
          <c:idx val="1"/>
          <c:order val="1"/>
          <c:tx>
            <c:strRef>
              <c:f>WORLD_Elec_NZE!$AD$11</c:f>
              <c:strCache>
                <c:ptCount val="1"/>
                <c:pt idx="0">
                  <c:v>  Wind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1:$AH$11</c:f>
              <c:numCache>
                <c:formatCode>#\ ##0\ \ \ \ ;\-#\ ##0\ \ \ \ ;\-\ \ \ \ </c:formatCode>
                <c:ptCount val="4"/>
                <c:pt idx="0">
                  <c:v>1870.29</c:v>
                </c:pt>
                <c:pt idx="1">
                  <c:v>7839.66</c:v>
                </c:pt>
                <c:pt idx="2">
                  <c:v>18554.900000000001</c:v>
                </c:pt>
                <c:pt idx="3">
                  <c:v>2348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C2-4910-AF9C-E3177D23FEF8}"/>
            </c:ext>
          </c:extLst>
        </c:ser>
        <c:ser>
          <c:idx val="2"/>
          <c:order val="2"/>
          <c:tx>
            <c:strRef>
              <c:f>WORLD_Elec_NZE!$AD$12</c:f>
              <c:strCache>
                <c:ptCount val="1"/>
                <c:pt idx="0">
                  <c:v>  Hydro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2:$AH$12</c:f>
              <c:numCache>
                <c:formatCode>#\ ##0\ \ \ \ ;\-#\ ##0\ \ \ \ ;\-\ \ \ \ </c:formatCode>
                <c:ptCount val="4"/>
                <c:pt idx="0">
                  <c:v>4327.3999999999996</c:v>
                </c:pt>
                <c:pt idx="1">
                  <c:v>5724.61</c:v>
                </c:pt>
                <c:pt idx="2">
                  <c:v>7637.02</c:v>
                </c:pt>
                <c:pt idx="3">
                  <c:v>8251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C2-4910-AF9C-E3177D23FEF8}"/>
            </c:ext>
          </c:extLst>
        </c:ser>
        <c:ser>
          <c:idx val="3"/>
          <c:order val="3"/>
          <c:tx>
            <c:strRef>
              <c:f>WORLD_Elec_NZE!$AD$13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3:$AH$13</c:f>
              <c:numCache>
                <c:formatCode>#\ ##0\ \ \ \ ;\-#\ ##0\ \ \ \ ;\-\ \ \ \ </c:formatCode>
                <c:ptCount val="4"/>
                <c:pt idx="0">
                  <c:v>2775.68</c:v>
                </c:pt>
                <c:pt idx="1">
                  <c:v>3896.03</c:v>
                </c:pt>
                <c:pt idx="2">
                  <c:v>5413.16</c:v>
                </c:pt>
                <c:pt idx="3">
                  <c:v>5809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C2-4910-AF9C-E3177D23FEF8}"/>
            </c:ext>
          </c:extLst>
        </c:ser>
        <c:ser>
          <c:idx val="4"/>
          <c:order val="4"/>
          <c:tx>
            <c:strRef>
              <c:f>WORLD_Elec_NZE!$AD$14</c:f>
              <c:strCache>
                <c:ptCount val="1"/>
                <c:pt idx="0">
                  <c:v>  Bioenerg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4:$AH$14</c:f>
              <c:numCache>
                <c:formatCode>#\ ##0\ \ \ \ ;\-#\ ##0\ \ \ \ ;\-\ \ \ \ </c:formatCode>
                <c:ptCount val="4"/>
                <c:pt idx="0">
                  <c:v>745.75</c:v>
                </c:pt>
                <c:pt idx="1">
                  <c:v>1441.73</c:v>
                </c:pt>
                <c:pt idx="2">
                  <c:v>2609.91</c:v>
                </c:pt>
                <c:pt idx="3">
                  <c:v>328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3C2-4910-AF9C-E3177D23FEF8}"/>
            </c:ext>
          </c:extLst>
        </c:ser>
        <c:ser>
          <c:idx val="5"/>
          <c:order val="5"/>
          <c:tx>
            <c:strRef>
              <c:f>WORLD_Elec_NZE!$AD$15</c:f>
              <c:strCache>
                <c:ptCount val="1"/>
                <c:pt idx="0">
                  <c:v>  CSP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5:$AH$15</c:f>
              <c:numCache>
                <c:formatCode>#\ ##0\ \ \ \ ;\-#\ ##0\ \ \ \ ;\-\ \ \ \ </c:formatCode>
                <c:ptCount val="4"/>
                <c:pt idx="0">
                  <c:v>15.17</c:v>
                </c:pt>
                <c:pt idx="1">
                  <c:v>174.69</c:v>
                </c:pt>
                <c:pt idx="2">
                  <c:v>911.11</c:v>
                </c:pt>
                <c:pt idx="3">
                  <c:v>150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C2-4910-AF9C-E3177D23FEF8}"/>
            </c:ext>
          </c:extLst>
        </c:ser>
        <c:ser>
          <c:idx val="6"/>
          <c:order val="6"/>
          <c:tx>
            <c:strRef>
              <c:f>WORLD_Elec_NZE!$AD$16</c:f>
              <c:strCache>
                <c:ptCount val="1"/>
                <c:pt idx="0">
                  <c:v>  Geothermal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6:$AH$16</c:f>
              <c:numCache>
                <c:formatCode>#\ ##0\ \ \ \ ;\-#\ ##0\ \ \ \ ;\-\ \ \ \ </c:formatCode>
                <c:ptCount val="4"/>
                <c:pt idx="0">
                  <c:v>97.28</c:v>
                </c:pt>
                <c:pt idx="1">
                  <c:v>312.17</c:v>
                </c:pt>
                <c:pt idx="2">
                  <c:v>654.66</c:v>
                </c:pt>
                <c:pt idx="3">
                  <c:v>857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C2-4910-AF9C-E3177D23FEF8}"/>
            </c:ext>
          </c:extLst>
        </c:ser>
        <c:ser>
          <c:idx val="7"/>
          <c:order val="7"/>
          <c:tx>
            <c:strRef>
              <c:f>WORLD_Elec_NZE!$AD$17</c:f>
              <c:strCache>
                <c:ptCount val="1"/>
                <c:pt idx="0">
                  <c:v>  Marine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7:$AH$17</c:f>
              <c:numCache>
                <c:formatCode>#\ ##0\ \ \ \ ;\-#\ ##0\ \ \ \ ;\-\ \ \ \ </c:formatCode>
                <c:ptCount val="4"/>
                <c:pt idx="0">
                  <c:v>1.1000000000000001</c:v>
                </c:pt>
                <c:pt idx="1">
                  <c:v>19.71</c:v>
                </c:pt>
                <c:pt idx="2">
                  <c:v>68.72</c:v>
                </c:pt>
                <c:pt idx="3">
                  <c:v>124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3C2-4910-AF9C-E3177D23FEF8}"/>
            </c:ext>
          </c:extLst>
        </c:ser>
        <c:ser>
          <c:idx val="8"/>
          <c:order val="8"/>
          <c:tx>
            <c:strRef>
              <c:f>WORLD_Elec_NZE!$AD$18</c:f>
              <c:strCache>
                <c:ptCount val="1"/>
                <c:pt idx="0">
                  <c:v>Hydrogen and ammoni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8:$AH$18</c:f>
              <c:numCache>
                <c:formatCode>#\ ##0\ \ \ \ ;\-#\ ##0\ \ \ \ ;\-\ \ \ \ </c:formatCode>
                <c:ptCount val="4"/>
                <c:pt idx="0">
                  <c:v>0</c:v>
                </c:pt>
                <c:pt idx="1">
                  <c:v>603.01</c:v>
                </c:pt>
                <c:pt idx="2">
                  <c:v>1414.86</c:v>
                </c:pt>
                <c:pt idx="3">
                  <c:v>1467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C2-4910-AF9C-E3177D23FEF8}"/>
            </c:ext>
          </c:extLst>
        </c:ser>
        <c:ser>
          <c:idx val="9"/>
          <c:order val="9"/>
          <c:tx>
            <c:strRef>
              <c:f>WORLD_Elec_NZE!$AD$19</c:f>
              <c:strCache>
                <c:ptCount val="1"/>
                <c:pt idx="0">
                  <c:v>Fossil fuels with CCUS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19:$AH$19</c:f>
              <c:numCache>
                <c:formatCode>#\ ##0\ \ \ \ ;\-#\ ##0\ \ \ \ ;\-\ \ \ \ </c:formatCode>
                <c:ptCount val="4"/>
                <c:pt idx="0">
                  <c:v>0.8</c:v>
                </c:pt>
                <c:pt idx="1">
                  <c:v>282.04000000000002</c:v>
                </c:pt>
                <c:pt idx="2">
                  <c:v>1211.1600000000001</c:v>
                </c:pt>
                <c:pt idx="3">
                  <c:v>1317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3C2-4910-AF9C-E3177D23FEF8}"/>
            </c:ext>
          </c:extLst>
        </c:ser>
        <c:ser>
          <c:idx val="10"/>
          <c:order val="10"/>
          <c:tx>
            <c:strRef>
              <c:f>WORLD_Elec_NZE!$AD$20</c:f>
              <c:strCache>
                <c:ptCount val="1"/>
                <c:pt idx="0">
                  <c:v>Unabated fossil fuels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WORLD_Elec_NZE!$AE$9:$AH$9</c:f>
              <c:numCache>
                <c:formatCode>0</c:formatCode>
                <c:ptCount val="4"/>
                <c:pt idx="0">
                  <c:v>2021</c:v>
                </c:pt>
                <c:pt idx="1">
                  <c:v>2030</c:v>
                </c:pt>
                <c:pt idx="2">
                  <c:v>2040</c:v>
                </c:pt>
                <c:pt idx="3" formatCode="General">
                  <c:v>2050</c:v>
                </c:pt>
              </c:numCache>
            </c:numRef>
          </c:cat>
          <c:val>
            <c:numRef>
              <c:f>WORLD_Elec_NZE!$AE$20:$AH$20</c:f>
              <c:numCache>
                <c:formatCode>#\ ##0\ \ \ \ ;\-#\ ##0\ \ \ \ ;\-\ \ \ \ </c:formatCode>
                <c:ptCount val="4"/>
                <c:pt idx="0">
                  <c:v>17435.900000000001</c:v>
                </c:pt>
                <c:pt idx="1">
                  <c:v>9823.52</c:v>
                </c:pt>
                <c:pt idx="2">
                  <c:v>168.05</c:v>
                </c:pt>
                <c:pt idx="3">
                  <c:v>85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C2-4910-AF9C-E3177D23F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72189343"/>
        <c:axId val="2072175199"/>
      </c:barChart>
      <c:catAx>
        <c:axId val="2072189343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2175199"/>
        <c:crosses val="autoZero"/>
        <c:auto val="1"/>
        <c:lblAlgn val="ctr"/>
        <c:lblOffset val="100"/>
        <c:noMultiLvlLbl val="0"/>
      </c:catAx>
      <c:valAx>
        <c:axId val="2072175199"/>
        <c:scaling>
          <c:orientation val="minMax"/>
        </c:scaling>
        <c:delete val="0"/>
        <c:axPos val="l"/>
        <c:majorGridlines>
          <c:spPr>
            <a:ln w="9525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\ \ \ \ ;\-#\ ##0\ \ \ \ ;\-\ \ \ 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2189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007268322228956E-3"/>
          <c:y val="0.7930667357042942"/>
          <c:w val="0.97750696614419019"/>
          <c:h val="0.206932929811076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b="1">
                <a:latin typeface="Times New Roman" panose="02020603050405020304" pitchFamily="18" charset="0"/>
                <a:cs typeface="Times New Roman" panose="02020603050405020304" pitchFamily="18" charset="0"/>
              </a:rPr>
              <a:t>Solar Activity Map - GWh</a:t>
            </a:r>
            <a:r>
              <a:rPr lang="en-US" b="1" baseline="0">
                <a:latin typeface="Times New Roman" panose="02020603050405020304" pitchFamily="18" charset="0"/>
                <a:cs typeface="Times New Roman" panose="02020603050405020304" pitchFamily="18" charset="0"/>
              </a:rPr>
              <a:t> production</a:t>
            </a:r>
            <a:endParaRPr 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27938034188034189"/>
          <c:y val="1.35013501350135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85489313835771E-2"/>
          <c:y val="0.10035010194916309"/>
          <c:w val="0.93030200551854092"/>
          <c:h val="0.59661404210402091"/>
        </c:manualLayout>
      </c:layout>
      <c:lineChart>
        <c:grouping val="standard"/>
        <c:varyColors val="0"/>
        <c:ser>
          <c:idx val="0"/>
          <c:order val="0"/>
          <c:tx>
            <c:strRef>
              <c:f>MAPs!$AH$59</c:f>
              <c:strCache>
                <c:ptCount val="1"/>
                <c:pt idx="0">
                  <c:v>Januar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H$60:$AH$83</c:f>
              <c:numCache>
                <c:formatCode>0.000</c:formatCode>
                <c:ptCount val="24"/>
                <c:pt idx="0">
                  <c:v>2.5748047199884252E-3</c:v>
                </c:pt>
                <c:pt idx="1">
                  <c:v>2.6008773418233701E-3</c:v>
                </c:pt>
                <c:pt idx="2">
                  <c:v>2.5537873569821262E-3</c:v>
                </c:pt>
                <c:pt idx="3">
                  <c:v>2.5718327112818512E-3</c:v>
                </c:pt>
                <c:pt idx="4">
                  <c:v>2.5127480405841727E-3</c:v>
                </c:pt>
                <c:pt idx="5">
                  <c:v>2.8635801592647469E-3</c:v>
                </c:pt>
                <c:pt idx="6">
                  <c:v>6.6864906006819172E-2</c:v>
                </c:pt>
                <c:pt idx="7">
                  <c:v>0.4195381129804272</c:v>
                </c:pt>
                <c:pt idx="8">
                  <c:v>0.92740239789162093</c:v>
                </c:pt>
                <c:pt idx="9">
                  <c:v>1.3528623093205832</c:v>
                </c:pt>
                <c:pt idx="10">
                  <c:v>1.5434457591323965</c:v>
                </c:pt>
                <c:pt idx="11">
                  <c:v>1.4488057182360938</c:v>
                </c:pt>
                <c:pt idx="12">
                  <c:v>1.1184581553454447</c:v>
                </c:pt>
                <c:pt idx="13">
                  <c:v>0.62755306931282151</c:v>
                </c:pt>
                <c:pt idx="14">
                  <c:v>0.16260818070923677</c:v>
                </c:pt>
                <c:pt idx="15">
                  <c:v>6.4505102653524783E-3</c:v>
                </c:pt>
                <c:pt idx="16">
                  <c:v>2.9765947008699926E-3</c:v>
                </c:pt>
                <c:pt idx="17">
                  <c:v>2.8244463412719647E-3</c:v>
                </c:pt>
                <c:pt idx="18">
                  <c:v>2.716764351173729E-3</c:v>
                </c:pt>
                <c:pt idx="19">
                  <c:v>2.6848970233678319E-3</c:v>
                </c:pt>
                <c:pt idx="20">
                  <c:v>2.6630335621890887E-3</c:v>
                </c:pt>
                <c:pt idx="21">
                  <c:v>7.2296564761104881E-2</c:v>
                </c:pt>
                <c:pt idx="22">
                  <c:v>2.5337085230410623E-3</c:v>
                </c:pt>
                <c:pt idx="23">
                  <c:v>2.544266975024943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34-4952-AD19-C1A493B91C35}"/>
            </c:ext>
          </c:extLst>
        </c:ser>
        <c:ser>
          <c:idx val="1"/>
          <c:order val="1"/>
          <c:tx>
            <c:strRef>
              <c:f>MAPs!$AI$59</c:f>
              <c:strCache>
                <c:ptCount val="1"/>
                <c:pt idx="0">
                  <c:v>February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I$60:$AI$83</c:f>
              <c:numCache>
                <c:formatCode>0.000</c:formatCode>
                <c:ptCount val="24"/>
                <c:pt idx="0">
                  <c:v>1.9823100907114103E-3</c:v>
                </c:pt>
                <c:pt idx="1">
                  <c:v>1.9491857431044102E-3</c:v>
                </c:pt>
                <c:pt idx="2">
                  <c:v>1.9274337234276107E-3</c:v>
                </c:pt>
                <c:pt idx="3">
                  <c:v>1.9306930091643072E-3</c:v>
                </c:pt>
                <c:pt idx="4">
                  <c:v>1.8904404395144599E-3</c:v>
                </c:pt>
                <c:pt idx="5">
                  <c:v>3.5396476199190383E-2</c:v>
                </c:pt>
                <c:pt idx="6">
                  <c:v>0.39184510311567533</c:v>
                </c:pt>
                <c:pt idx="7">
                  <c:v>1.1216921200096932</c:v>
                </c:pt>
                <c:pt idx="8">
                  <c:v>1.8690371790435518</c:v>
                </c:pt>
                <c:pt idx="9">
                  <c:v>2.6811101990260751</c:v>
                </c:pt>
                <c:pt idx="10">
                  <c:v>2.7239010957180398</c:v>
                </c:pt>
                <c:pt idx="11">
                  <c:v>2.6298478793981634</c:v>
                </c:pt>
                <c:pt idx="12">
                  <c:v>2.2047272040701307</c:v>
                </c:pt>
                <c:pt idx="13">
                  <c:v>1.5175375625773355</c:v>
                </c:pt>
                <c:pt idx="14">
                  <c:v>0.70811056675483675</c:v>
                </c:pt>
                <c:pt idx="15">
                  <c:v>0.12426309811547238</c:v>
                </c:pt>
                <c:pt idx="16">
                  <c:v>2.8106376298087806E-3</c:v>
                </c:pt>
                <c:pt idx="17">
                  <c:v>2.2762632736164756E-3</c:v>
                </c:pt>
                <c:pt idx="18">
                  <c:v>2.1528402974338094E-3</c:v>
                </c:pt>
                <c:pt idx="19">
                  <c:v>2.0631747675264231E-3</c:v>
                </c:pt>
                <c:pt idx="20">
                  <c:v>2.0220468021871049E-3</c:v>
                </c:pt>
                <c:pt idx="21">
                  <c:v>2.0047030250894332E-3</c:v>
                </c:pt>
                <c:pt idx="22">
                  <c:v>1.946661164464236E-3</c:v>
                </c:pt>
                <c:pt idx="23">
                  <c:v>1.910277531120539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34-4952-AD19-C1A493B91C35}"/>
            </c:ext>
          </c:extLst>
        </c:ser>
        <c:ser>
          <c:idx val="2"/>
          <c:order val="2"/>
          <c:tx>
            <c:strRef>
              <c:f>MAPs!$AJ$59</c:f>
              <c:strCache>
                <c:ptCount val="1"/>
                <c:pt idx="0">
                  <c:v>March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J$60:$AJ$83</c:f>
              <c:numCache>
                <c:formatCode>0.000</c:formatCode>
                <c:ptCount val="24"/>
                <c:pt idx="0">
                  <c:v>3.0317119532464543E-3</c:v>
                </c:pt>
                <c:pt idx="1">
                  <c:v>3.1741313925730315E-3</c:v>
                </c:pt>
                <c:pt idx="2">
                  <c:v>3.3619414392265985E-3</c:v>
                </c:pt>
                <c:pt idx="3">
                  <c:v>3.5665810895369747E-3</c:v>
                </c:pt>
                <c:pt idx="4">
                  <c:v>3.9609140303911397E-2</c:v>
                </c:pt>
                <c:pt idx="5">
                  <c:v>0.4807646989768235</c:v>
                </c:pt>
                <c:pt idx="6">
                  <c:v>1.5014142895312541</c:v>
                </c:pt>
                <c:pt idx="7">
                  <c:v>2.6703882030074184</c:v>
                </c:pt>
                <c:pt idx="8">
                  <c:v>3.6642941661056763</c:v>
                </c:pt>
                <c:pt idx="9">
                  <c:v>4.2800846435338524</c:v>
                </c:pt>
                <c:pt idx="10">
                  <c:v>4.4724708868088126</c:v>
                </c:pt>
                <c:pt idx="11">
                  <c:v>4.2579395383147132</c:v>
                </c:pt>
                <c:pt idx="12">
                  <c:v>3.7149552967005421</c:v>
                </c:pt>
                <c:pt idx="13">
                  <c:v>2.8250501425240677</c:v>
                </c:pt>
                <c:pt idx="14">
                  <c:v>1.9570330361438155</c:v>
                </c:pt>
                <c:pt idx="15">
                  <c:v>0.83494980517383621</c:v>
                </c:pt>
                <c:pt idx="16">
                  <c:v>6.8579577278795475E-2</c:v>
                </c:pt>
                <c:pt idx="17">
                  <c:v>3.027694764444506E-3</c:v>
                </c:pt>
                <c:pt idx="18">
                  <c:v>2.7497479597617565E-3</c:v>
                </c:pt>
                <c:pt idx="19">
                  <c:v>2.6267722119414126E-3</c:v>
                </c:pt>
                <c:pt idx="20">
                  <c:v>2.7043928316774599E-3</c:v>
                </c:pt>
                <c:pt idx="21">
                  <c:v>2.8619377334005861E-3</c:v>
                </c:pt>
                <c:pt idx="22">
                  <c:v>2.9763458484663315E-3</c:v>
                </c:pt>
                <c:pt idx="23">
                  <c:v>2.994170790637097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534-4952-AD19-C1A493B91C35}"/>
            </c:ext>
          </c:extLst>
        </c:ser>
        <c:ser>
          <c:idx val="3"/>
          <c:order val="3"/>
          <c:tx>
            <c:strRef>
              <c:f>MAPs!$AK$59</c:f>
              <c:strCache>
                <c:ptCount val="1"/>
                <c:pt idx="0">
                  <c:v>Apri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K$60:$AK$83</c:f>
              <c:numCache>
                <c:formatCode>0.000</c:formatCode>
                <c:ptCount val="24"/>
                <c:pt idx="0">
                  <c:v>2.7526683019692866E-3</c:v>
                </c:pt>
                <c:pt idx="1">
                  <c:v>5.6727161052538985E-2</c:v>
                </c:pt>
                <c:pt idx="2">
                  <c:v>2.8115918111103104E-3</c:v>
                </c:pt>
                <c:pt idx="3">
                  <c:v>2.5809525593702882E-2</c:v>
                </c:pt>
                <c:pt idx="4">
                  <c:v>0.44759237968603993</c:v>
                </c:pt>
                <c:pt idx="5">
                  <c:v>1.5262416856965881</c:v>
                </c:pt>
                <c:pt idx="6">
                  <c:v>2.9403503318363402</c:v>
                </c:pt>
                <c:pt idx="7">
                  <c:v>4.2476912545447405</c:v>
                </c:pt>
                <c:pt idx="8">
                  <c:v>5.2203286890906959</c:v>
                </c:pt>
                <c:pt idx="9">
                  <c:v>5.7461376850425028</c:v>
                </c:pt>
                <c:pt idx="10">
                  <c:v>5.8330028250771901</c:v>
                </c:pt>
                <c:pt idx="11">
                  <c:v>5.5463409743489809</c:v>
                </c:pt>
                <c:pt idx="12">
                  <c:v>4.8631315554025694</c:v>
                </c:pt>
                <c:pt idx="13">
                  <c:v>3.8825650149295328</c:v>
                </c:pt>
                <c:pt idx="14">
                  <c:v>2.6553360250367266</c:v>
                </c:pt>
                <c:pt idx="15">
                  <c:v>1.3557371297874168</c:v>
                </c:pt>
                <c:pt idx="16">
                  <c:v>0.37465922582813399</c:v>
                </c:pt>
                <c:pt idx="17">
                  <c:v>1.7752602673041976E-2</c:v>
                </c:pt>
                <c:pt idx="18">
                  <c:v>2.0653792014573066E-3</c:v>
                </c:pt>
                <c:pt idx="19">
                  <c:v>2.0601260457171785E-3</c:v>
                </c:pt>
                <c:pt idx="20">
                  <c:v>2.2358532890631843E-3</c:v>
                </c:pt>
                <c:pt idx="21">
                  <c:v>2.4963363430639076E-3</c:v>
                </c:pt>
                <c:pt idx="22">
                  <c:v>2.6413601768462808E-3</c:v>
                </c:pt>
                <c:pt idx="23">
                  <c:v>2.742330973121229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534-4952-AD19-C1A493B91C35}"/>
            </c:ext>
          </c:extLst>
        </c:ser>
        <c:ser>
          <c:idx val="4"/>
          <c:order val="4"/>
          <c:tx>
            <c:strRef>
              <c:f>MAPs!$AL$59</c:f>
              <c:strCache>
                <c:ptCount val="1"/>
                <c:pt idx="0">
                  <c:v>May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L$60:$AL$83</c:f>
              <c:numCache>
                <c:formatCode>0.000</c:formatCode>
                <c:ptCount val="24"/>
                <c:pt idx="0">
                  <c:v>2.9320714508207909E-3</c:v>
                </c:pt>
                <c:pt idx="1">
                  <c:v>2.860835672755805E-3</c:v>
                </c:pt>
                <c:pt idx="2">
                  <c:v>6.2185798251408941E-3</c:v>
                </c:pt>
                <c:pt idx="3">
                  <c:v>0.20691655737298031</c:v>
                </c:pt>
                <c:pt idx="4">
                  <c:v>0.9588046845456929</c:v>
                </c:pt>
                <c:pt idx="5">
                  <c:v>2.1503911333758943</c:v>
                </c:pt>
                <c:pt idx="6">
                  <c:v>3.4467260503995001</c:v>
                </c:pt>
                <c:pt idx="7">
                  <c:v>4.5754605159836244</c:v>
                </c:pt>
                <c:pt idx="8">
                  <c:v>5.3629454650553416</c:v>
                </c:pt>
                <c:pt idx="9">
                  <c:v>5.7843120317367696</c:v>
                </c:pt>
                <c:pt idx="10">
                  <c:v>5.8426222382039112</c:v>
                </c:pt>
                <c:pt idx="11">
                  <c:v>5.5883285558662106</c:v>
                </c:pt>
                <c:pt idx="12">
                  <c:v>5.0345840003083779</c:v>
                </c:pt>
                <c:pt idx="13">
                  <c:v>4.1444269506188487</c:v>
                </c:pt>
                <c:pt idx="14">
                  <c:v>3.0026635117081253</c:v>
                </c:pt>
                <c:pt idx="15">
                  <c:v>1.7841920943665395</c:v>
                </c:pt>
                <c:pt idx="16">
                  <c:v>0.74993990436486724</c:v>
                </c:pt>
                <c:pt idx="17">
                  <c:v>0.34560225789544874</c:v>
                </c:pt>
                <c:pt idx="18">
                  <c:v>2.9731960880428582E-3</c:v>
                </c:pt>
                <c:pt idx="19">
                  <c:v>1.9071123907612795E-3</c:v>
                </c:pt>
                <c:pt idx="20">
                  <c:v>2.2021731307471943E-3</c:v>
                </c:pt>
                <c:pt idx="21">
                  <c:v>2.7079336458781162E-3</c:v>
                </c:pt>
                <c:pt idx="22">
                  <c:v>2.8975236271240367E-3</c:v>
                </c:pt>
                <c:pt idx="23">
                  <c:v>2.886083526624331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534-4952-AD19-C1A493B91C35}"/>
            </c:ext>
          </c:extLst>
        </c:ser>
        <c:ser>
          <c:idx val="5"/>
          <c:order val="5"/>
          <c:tx>
            <c:strRef>
              <c:f>MAPs!$AM$59</c:f>
              <c:strCache>
                <c:ptCount val="1"/>
                <c:pt idx="0">
                  <c:v>Jun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M$60:$AM$83</c:f>
              <c:numCache>
                <c:formatCode>0.000</c:formatCode>
                <c:ptCount val="24"/>
                <c:pt idx="0">
                  <c:v>3.0666527267387018E-3</c:v>
                </c:pt>
                <c:pt idx="1">
                  <c:v>2.9708983508490577E-3</c:v>
                </c:pt>
                <c:pt idx="2">
                  <c:v>1.5984221468282503E-2</c:v>
                </c:pt>
                <c:pt idx="3">
                  <c:v>0.32105537076654628</c:v>
                </c:pt>
                <c:pt idx="4">
                  <c:v>1.1332136363123471</c:v>
                </c:pt>
                <c:pt idx="5">
                  <c:v>2.3511100974764436</c:v>
                </c:pt>
                <c:pt idx="6">
                  <c:v>3.6646406115489847</c:v>
                </c:pt>
                <c:pt idx="7">
                  <c:v>4.7912409876499771</c:v>
                </c:pt>
                <c:pt idx="8">
                  <c:v>5.6031884510356464</c:v>
                </c:pt>
                <c:pt idx="9">
                  <c:v>6.0430165049022149</c:v>
                </c:pt>
                <c:pt idx="10">
                  <c:v>6.1821807777481981</c:v>
                </c:pt>
                <c:pt idx="11">
                  <c:v>5.9875192288351125</c:v>
                </c:pt>
                <c:pt idx="12">
                  <c:v>5.4777236736528128</c:v>
                </c:pt>
                <c:pt idx="13">
                  <c:v>4.6088001892268755</c:v>
                </c:pt>
                <c:pt idx="14">
                  <c:v>3.4977486104334123</c:v>
                </c:pt>
                <c:pt idx="15">
                  <c:v>2.2335749990922267</c:v>
                </c:pt>
                <c:pt idx="16">
                  <c:v>1.0790786100611873</c:v>
                </c:pt>
                <c:pt idx="17">
                  <c:v>0.31542920423351384</c:v>
                </c:pt>
                <c:pt idx="18">
                  <c:v>1.6621756204218036E-2</c:v>
                </c:pt>
                <c:pt idx="19">
                  <c:v>2.3784011599302809E-3</c:v>
                </c:pt>
                <c:pt idx="20">
                  <c:v>2.7283715382873204E-3</c:v>
                </c:pt>
                <c:pt idx="21">
                  <c:v>3.1012133485590716E-3</c:v>
                </c:pt>
                <c:pt idx="22">
                  <c:v>3.104049317951644E-3</c:v>
                </c:pt>
                <c:pt idx="23">
                  <c:v>3.07426429225866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534-4952-AD19-C1A493B91C35}"/>
            </c:ext>
          </c:extLst>
        </c:ser>
        <c:ser>
          <c:idx val="6"/>
          <c:order val="6"/>
          <c:tx>
            <c:strRef>
              <c:f>MAPs!$AN$59</c:f>
              <c:strCache>
                <c:ptCount val="1"/>
                <c:pt idx="0">
                  <c:v>July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N$60:$AN$83</c:f>
              <c:numCache>
                <c:formatCode>0.000</c:formatCode>
                <c:ptCount val="24"/>
                <c:pt idx="0">
                  <c:v>4.4870008098530549E-3</c:v>
                </c:pt>
                <c:pt idx="1">
                  <c:v>4.4825285766558398E-3</c:v>
                </c:pt>
                <c:pt idx="2">
                  <c:v>7.4495673452252735E-3</c:v>
                </c:pt>
                <c:pt idx="3">
                  <c:v>0.22664551194456642</c:v>
                </c:pt>
                <c:pt idx="4">
                  <c:v>1.0427981512669451</c:v>
                </c:pt>
                <c:pt idx="5">
                  <c:v>2.3492751546527644</c:v>
                </c:pt>
                <c:pt idx="6">
                  <c:v>3.7956341062855885</c:v>
                </c:pt>
                <c:pt idx="7">
                  <c:v>5.0800445493809328</c:v>
                </c:pt>
                <c:pt idx="8">
                  <c:v>6.0277593114192776</c:v>
                </c:pt>
                <c:pt idx="9">
                  <c:v>6.5175233451905061</c:v>
                </c:pt>
                <c:pt idx="10">
                  <c:v>6.6440214708034242</c:v>
                </c:pt>
                <c:pt idx="11">
                  <c:v>6.3605094020659019</c:v>
                </c:pt>
                <c:pt idx="12">
                  <c:v>5.781440147017288</c:v>
                </c:pt>
                <c:pt idx="13">
                  <c:v>4.8741188014081605</c:v>
                </c:pt>
                <c:pt idx="14">
                  <c:v>3.7042138386590087</c:v>
                </c:pt>
                <c:pt idx="15">
                  <c:v>2.363758734269378</c:v>
                </c:pt>
                <c:pt idx="16">
                  <c:v>1.1261652351579776</c:v>
                </c:pt>
                <c:pt idx="17">
                  <c:v>0.3034829220656079</c:v>
                </c:pt>
                <c:pt idx="18">
                  <c:v>1.3329423498640854E-2</c:v>
                </c:pt>
                <c:pt idx="19">
                  <c:v>3.7400169947509961E-3</c:v>
                </c:pt>
                <c:pt idx="20">
                  <c:v>4.1830809242968245E-3</c:v>
                </c:pt>
                <c:pt idx="21">
                  <c:v>4.5316733713444508E-3</c:v>
                </c:pt>
                <c:pt idx="22">
                  <c:v>4.5996811782305271E-3</c:v>
                </c:pt>
                <c:pt idx="23">
                  <c:v>4.591440608635026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534-4952-AD19-C1A493B91C35}"/>
            </c:ext>
          </c:extLst>
        </c:ser>
        <c:ser>
          <c:idx val="7"/>
          <c:order val="7"/>
          <c:tx>
            <c:strRef>
              <c:f>MAPs!$AO$59</c:f>
              <c:strCache>
                <c:ptCount val="1"/>
                <c:pt idx="0">
                  <c:v>August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O$60:$AO$83</c:f>
              <c:numCache>
                <c:formatCode>0.000</c:formatCode>
                <c:ptCount val="24"/>
                <c:pt idx="0">
                  <c:v>3.7455628483182885E-3</c:v>
                </c:pt>
                <c:pt idx="1">
                  <c:v>3.5344435791213966E-3</c:v>
                </c:pt>
                <c:pt idx="2">
                  <c:v>3.3832550787946283E-3</c:v>
                </c:pt>
                <c:pt idx="3">
                  <c:v>5.1217984063506229E-2</c:v>
                </c:pt>
                <c:pt idx="4">
                  <c:v>0.60344297574389882</c:v>
                </c:pt>
                <c:pt idx="5">
                  <c:v>1.8372545155654274</c:v>
                </c:pt>
                <c:pt idx="6">
                  <c:v>3.3975992726249156</c:v>
                </c:pt>
                <c:pt idx="7">
                  <c:v>4.8114751218440848</c:v>
                </c:pt>
                <c:pt idx="8">
                  <c:v>5.8296198352039585</c:v>
                </c:pt>
                <c:pt idx="9">
                  <c:v>6.3909111029753287</c:v>
                </c:pt>
                <c:pt idx="10">
                  <c:v>6.5295315757277681</c:v>
                </c:pt>
                <c:pt idx="11">
                  <c:v>6.2461335880421487</c:v>
                </c:pt>
                <c:pt idx="12">
                  <c:v>5.5300583719756435</c:v>
                </c:pt>
                <c:pt idx="13">
                  <c:v>4.4557455523091338</c:v>
                </c:pt>
                <c:pt idx="14">
                  <c:v>3.1449739892322439</c:v>
                </c:pt>
                <c:pt idx="15">
                  <c:v>1.7489269856115432</c:v>
                </c:pt>
                <c:pt idx="16">
                  <c:v>0.61520872449903607</c:v>
                </c:pt>
                <c:pt idx="17">
                  <c:v>7.0338359416837748E-2</c:v>
                </c:pt>
                <c:pt idx="18">
                  <c:v>3.337572887551237E-3</c:v>
                </c:pt>
                <c:pt idx="19">
                  <c:v>3.3505843132283419E-3</c:v>
                </c:pt>
                <c:pt idx="20">
                  <c:v>3.5900585363051775E-3</c:v>
                </c:pt>
                <c:pt idx="21">
                  <c:v>3.7741808747392435E-3</c:v>
                </c:pt>
                <c:pt idx="22">
                  <c:v>3.7332766496461344E-3</c:v>
                </c:pt>
                <c:pt idx="23">
                  <c:v>3.732807385113516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534-4952-AD19-C1A493B91C35}"/>
            </c:ext>
          </c:extLst>
        </c:ser>
        <c:ser>
          <c:idx val="8"/>
          <c:order val="8"/>
          <c:tx>
            <c:strRef>
              <c:f>MAPs!$AP$59</c:f>
              <c:strCache>
                <c:ptCount val="1"/>
                <c:pt idx="0">
                  <c:v>September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P$60:$AP$83</c:f>
              <c:numCache>
                <c:formatCode>0.000</c:formatCode>
                <c:ptCount val="24"/>
                <c:pt idx="0">
                  <c:v>3.2619893024908673E-3</c:v>
                </c:pt>
                <c:pt idx="1">
                  <c:v>4.5778357529259892E-2</c:v>
                </c:pt>
                <c:pt idx="2">
                  <c:v>3.1058493503381222E-3</c:v>
                </c:pt>
                <c:pt idx="3">
                  <c:v>3.493076725559768E-3</c:v>
                </c:pt>
                <c:pt idx="4">
                  <c:v>0.16308803308212147</c:v>
                </c:pt>
                <c:pt idx="5">
                  <c:v>1.0308664250686355</c:v>
                </c:pt>
                <c:pt idx="6">
                  <c:v>2.3982209197959534</c:v>
                </c:pt>
                <c:pt idx="7">
                  <c:v>3.7714947291878165</c:v>
                </c:pt>
                <c:pt idx="8">
                  <c:v>4.8382897051786236</c:v>
                </c:pt>
                <c:pt idx="9">
                  <c:v>5.4669691046446474</c:v>
                </c:pt>
                <c:pt idx="10">
                  <c:v>5.6185191505415712</c:v>
                </c:pt>
                <c:pt idx="11">
                  <c:v>5.3128877870822144</c:v>
                </c:pt>
                <c:pt idx="12">
                  <c:v>4.611118388487319</c:v>
                </c:pt>
                <c:pt idx="13">
                  <c:v>3.5032769066341172</c:v>
                </c:pt>
                <c:pt idx="14">
                  <c:v>2.1161811408002449</c:v>
                </c:pt>
                <c:pt idx="15">
                  <c:v>0.80584215761963718</c:v>
                </c:pt>
                <c:pt idx="16">
                  <c:v>0.10355656116579869</c:v>
                </c:pt>
                <c:pt idx="17">
                  <c:v>3.1769763443523671E-3</c:v>
                </c:pt>
                <c:pt idx="18">
                  <c:v>2.837526971617516E-3</c:v>
                </c:pt>
                <c:pt idx="19">
                  <c:v>2.7505156101764777E-3</c:v>
                </c:pt>
                <c:pt idx="20">
                  <c:v>2.9534564043776396E-3</c:v>
                </c:pt>
                <c:pt idx="21">
                  <c:v>3.1658675730529637E-3</c:v>
                </c:pt>
                <c:pt idx="22">
                  <c:v>3.2451571629095585E-3</c:v>
                </c:pt>
                <c:pt idx="23">
                  <c:v>6.713200213569546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1534-4952-AD19-C1A493B91C35}"/>
            </c:ext>
          </c:extLst>
        </c:ser>
        <c:ser>
          <c:idx val="9"/>
          <c:order val="9"/>
          <c:tx>
            <c:strRef>
              <c:f>MAPs!$AQ$59</c:f>
              <c:strCache>
                <c:ptCount val="1"/>
                <c:pt idx="0">
                  <c:v>October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Q$60:$AQ$83</c:f>
              <c:numCache>
                <c:formatCode>0.000</c:formatCode>
                <c:ptCount val="24"/>
                <c:pt idx="0">
                  <c:v>2.5957716015071242E-2</c:v>
                </c:pt>
                <c:pt idx="1">
                  <c:v>3.4650279786374661E-3</c:v>
                </c:pt>
                <c:pt idx="2">
                  <c:v>3.3902869367152034E-3</c:v>
                </c:pt>
                <c:pt idx="3">
                  <c:v>3.320202989775734E-3</c:v>
                </c:pt>
                <c:pt idx="4">
                  <c:v>1.2361096135585779E-2</c:v>
                </c:pt>
                <c:pt idx="5">
                  <c:v>0.32003074659072134</c:v>
                </c:pt>
                <c:pt idx="6">
                  <c:v>1.1933805608994947</c:v>
                </c:pt>
                <c:pt idx="7">
                  <c:v>2.2550382688705297</c:v>
                </c:pt>
                <c:pt idx="8">
                  <c:v>3.1874170962593844</c:v>
                </c:pt>
                <c:pt idx="9">
                  <c:v>3.7250953566931853</c:v>
                </c:pt>
                <c:pt idx="10">
                  <c:v>3.8784493066459871</c:v>
                </c:pt>
                <c:pt idx="11">
                  <c:v>3.6139881336706887</c:v>
                </c:pt>
                <c:pt idx="12">
                  <c:v>2.9113405880317904</c:v>
                </c:pt>
                <c:pt idx="13">
                  <c:v>1.8895011132642918</c:v>
                </c:pt>
                <c:pt idx="14">
                  <c:v>0.79854638153387936</c:v>
                </c:pt>
                <c:pt idx="15">
                  <c:v>0.11879279487728198</c:v>
                </c:pt>
                <c:pt idx="16">
                  <c:v>4.7512607323344719E-3</c:v>
                </c:pt>
                <c:pt idx="17">
                  <c:v>3.616970146243893E-3</c:v>
                </c:pt>
                <c:pt idx="18">
                  <c:v>3.4055949145746661E-3</c:v>
                </c:pt>
                <c:pt idx="19">
                  <c:v>3.347434552804869E-3</c:v>
                </c:pt>
                <c:pt idx="20">
                  <c:v>3.4234554070888103E-3</c:v>
                </c:pt>
                <c:pt idx="21">
                  <c:v>3.5936633411239156E-3</c:v>
                </c:pt>
                <c:pt idx="22">
                  <c:v>3.6842669462623656E-3</c:v>
                </c:pt>
                <c:pt idx="23">
                  <c:v>3.716169824411642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1534-4952-AD19-C1A493B91C35}"/>
            </c:ext>
          </c:extLst>
        </c:ser>
        <c:ser>
          <c:idx val="10"/>
          <c:order val="10"/>
          <c:tx>
            <c:strRef>
              <c:f>MAPs!$AR$59</c:f>
              <c:strCache>
                <c:ptCount val="1"/>
                <c:pt idx="0">
                  <c:v>November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R$60:$AR$83</c:f>
              <c:numCache>
                <c:formatCode>0.000</c:formatCode>
                <c:ptCount val="24"/>
                <c:pt idx="0">
                  <c:v>3.394295356432452E-3</c:v>
                </c:pt>
                <c:pt idx="1">
                  <c:v>3.4729751393989352E-3</c:v>
                </c:pt>
                <c:pt idx="2">
                  <c:v>3.4468342609047021E-3</c:v>
                </c:pt>
                <c:pt idx="3">
                  <c:v>3.3255194251270766E-3</c:v>
                </c:pt>
                <c:pt idx="4">
                  <c:v>3.2672571523729246E-3</c:v>
                </c:pt>
                <c:pt idx="5">
                  <c:v>2.8959633699535428E-2</c:v>
                </c:pt>
                <c:pt idx="6">
                  <c:v>0.38752330789305084</c:v>
                </c:pt>
                <c:pt idx="7">
                  <c:v>1.0841607847658135</c:v>
                </c:pt>
                <c:pt idx="8">
                  <c:v>1.7839772584274431</c:v>
                </c:pt>
                <c:pt idx="9">
                  <c:v>2.2508148423355361</c:v>
                </c:pt>
                <c:pt idx="10">
                  <c:v>2.3594812178869309</c:v>
                </c:pt>
                <c:pt idx="11">
                  <c:v>2.1260756910695124</c:v>
                </c:pt>
                <c:pt idx="12">
                  <c:v>1.5489561988696261</c:v>
                </c:pt>
                <c:pt idx="13">
                  <c:v>0.77928725698237178</c:v>
                </c:pt>
                <c:pt idx="14">
                  <c:v>0.15459302636101768</c:v>
                </c:pt>
                <c:pt idx="15">
                  <c:v>5.7905205105243437E-3</c:v>
                </c:pt>
                <c:pt idx="16">
                  <c:v>4.1934068770349961E-3</c:v>
                </c:pt>
                <c:pt idx="17">
                  <c:v>3.8467059452574788E-3</c:v>
                </c:pt>
                <c:pt idx="18">
                  <c:v>3.6352939782334248E-3</c:v>
                </c:pt>
                <c:pt idx="19">
                  <c:v>3.3251888069336382E-3</c:v>
                </c:pt>
                <c:pt idx="20">
                  <c:v>3.1879675625163238E-3</c:v>
                </c:pt>
                <c:pt idx="21">
                  <c:v>3.1949987094300344E-3</c:v>
                </c:pt>
                <c:pt idx="22">
                  <c:v>3.2311022161530993E-3</c:v>
                </c:pt>
                <c:pt idx="23">
                  <c:v>3.34437935629477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1534-4952-AD19-C1A493B91C35}"/>
            </c:ext>
          </c:extLst>
        </c:ser>
        <c:ser>
          <c:idx val="11"/>
          <c:order val="11"/>
          <c:tx>
            <c:strRef>
              <c:f>MAPs!$AS$59</c:f>
              <c:strCache>
                <c:ptCount val="1"/>
                <c:pt idx="0">
                  <c:v>December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MAPs!$AG$60:$AG$83</c:f>
              <c:strCache>
                <c:ptCount val="24"/>
                <c:pt idx="0">
                  <c:v>12 AM</c:v>
                </c:pt>
                <c:pt idx="1">
                  <c:v>1 AM</c:v>
                </c:pt>
                <c:pt idx="2">
                  <c:v>2 AM</c:v>
                </c:pt>
                <c:pt idx="3">
                  <c:v>3 AM</c:v>
                </c:pt>
                <c:pt idx="4">
                  <c:v>4 AM</c:v>
                </c:pt>
                <c:pt idx="5">
                  <c:v>5 AM</c:v>
                </c:pt>
                <c:pt idx="6">
                  <c:v>6 AM</c:v>
                </c:pt>
                <c:pt idx="7">
                  <c:v>7 AM</c:v>
                </c:pt>
                <c:pt idx="8">
                  <c:v>8 AM</c:v>
                </c:pt>
                <c:pt idx="9">
                  <c:v>9 AM</c:v>
                </c:pt>
                <c:pt idx="10">
                  <c:v>10 AM</c:v>
                </c:pt>
                <c:pt idx="11">
                  <c:v>11 AM</c:v>
                </c:pt>
                <c:pt idx="12">
                  <c:v>12 PM</c:v>
                </c:pt>
                <c:pt idx="13">
                  <c:v>1 PM</c:v>
                </c:pt>
                <c:pt idx="14">
                  <c:v>2 PM</c:v>
                </c:pt>
                <c:pt idx="15">
                  <c:v>3 PM</c:v>
                </c:pt>
                <c:pt idx="16">
                  <c:v>4 PM</c:v>
                </c:pt>
                <c:pt idx="17">
                  <c:v>5 PM</c:v>
                </c:pt>
                <c:pt idx="18">
                  <c:v>6 PM</c:v>
                </c:pt>
                <c:pt idx="19">
                  <c:v>7 PM</c:v>
                </c:pt>
                <c:pt idx="20">
                  <c:v>8 PM</c:v>
                </c:pt>
                <c:pt idx="21">
                  <c:v>9 PM</c:v>
                </c:pt>
                <c:pt idx="22">
                  <c:v>10 PM</c:v>
                </c:pt>
                <c:pt idx="23">
                  <c:v>11 PM</c:v>
                </c:pt>
              </c:strCache>
            </c:strRef>
          </c:cat>
          <c:val>
            <c:numRef>
              <c:f>MAPs!$AS$60:$AS$83</c:f>
              <c:numCache>
                <c:formatCode>0.000</c:formatCode>
                <c:ptCount val="24"/>
                <c:pt idx="0">
                  <c:v>3.8765197867352873E-3</c:v>
                </c:pt>
                <c:pt idx="1">
                  <c:v>3.9159148766672773E-3</c:v>
                </c:pt>
                <c:pt idx="2">
                  <c:v>3.8514013915197983E-3</c:v>
                </c:pt>
                <c:pt idx="3">
                  <c:v>3.8351495751282379E-3</c:v>
                </c:pt>
                <c:pt idx="4">
                  <c:v>3.8468786491334186E-3</c:v>
                </c:pt>
                <c:pt idx="5">
                  <c:v>4.0090461573893277E-3</c:v>
                </c:pt>
                <c:pt idx="6">
                  <c:v>9.6606571715467049E-2</c:v>
                </c:pt>
                <c:pt idx="7">
                  <c:v>0.56133681500982247</c:v>
                </c:pt>
                <c:pt idx="8">
                  <c:v>1.166080306573495</c:v>
                </c:pt>
                <c:pt idx="9">
                  <c:v>1.626677278575833</c:v>
                </c:pt>
                <c:pt idx="10">
                  <c:v>1.7850270054461248</c:v>
                </c:pt>
                <c:pt idx="11">
                  <c:v>1.5875753940252617</c:v>
                </c:pt>
                <c:pt idx="12">
                  <c:v>1.1198745104817056</c:v>
                </c:pt>
                <c:pt idx="13">
                  <c:v>0.50797529621403448</c:v>
                </c:pt>
                <c:pt idx="14">
                  <c:v>6.7991860479452992E-2</c:v>
                </c:pt>
                <c:pt idx="15">
                  <c:v>4.4248307387042057E-3</c:v>
                </c:pt>
                <c:pt idx="16">
                  <c:v>4.4247448638487681E-3</c:v>
                </c:pt>
                <c:pt idx="17">
                  <c:v>4.2815413861686585E-3</c:v>
                </c:pt>
                <c:pt idx="18">
                  <c:v>4.1085107086998966E-3</c:v>
                </c:pt>
                <c:pt idx="19">
                  <c:v>3.9895811901568086E-3</c:v>
                </c:pt>
                <c:pt idx="20">
                  <c:v>3.7659272854075974E-3</c:v>
                </c:pt>
                <c:pt idx="21">
                  <c:v>3.6858847639018246E-3</c:v>
                </c:pt>
                <c:pt idx="22">
                  <c:v>3.7491815015060805E-3</c:v>
                </c:pt>
                <c:pt idx="23">
                  <c:v>3.7744784752608207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1534-4952-AD19-C1A493B91C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6973311"/>
        <c:axId val="316976639"/>
      </c:lineChart>
      <c:catAx>
        <c:axId val="316973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b" anchorCtr="0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6976639"/>
        <c:crosses val="autoZero"/>
        <c:auto val="1"/>
        <c:lblAlgn val="ctr"/>
        <c:lblOffset val="100"/>
        <c:noMultiLvlLbl val="0"/>
      </c:catAx>
      <c:valAx>
        <c:axId val="316976639"/>
        <c:scaling>
          <c:orientation val="minMax"/>
        </c:scaling>
        <c:delete val="0"/>
        <c:axPos val="l"/>
        <c:majorGridlines>
          <c:spPr>
            <a:ln w="9525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6973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358830146231721"/>
          <c:w val="0.96854801803620705"/>
          <c:h val="0.113637426734799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93768672641914E-2"/>
          <c:y val="2.2193768672641914E-2"/>
          <c:w val="0.95561246265471622"/>
          <c:h val="0.9556124626547162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7E1-4AB6-A7FE-BDBCCC4A1AC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7E1-4AB6-A7FE-BDBCCC4A1AC8}"/>
              </c:ext>
            </c:extLst>
          </c:dPt>
          <c:dPt>
            <c:idx val="2"/>
            <c:bubble3D val="0"/>
            <c:spPr>
              <a:solidFill>
                <a:srgbClr val="747480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7E1-4AB6-A7FE-BDBCCC4A1AC8}"/>
              </c:ext>
            </c:extLst>
          </c:dPt>
          <c:dPt>
            <c:idx val="3"/>
            <c:bubble3D val="0"/>
            <c:spPr>
              <a:solidFill>
                <a:srgbClr val="0BBC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7E1-4AB6-A7FE-BDBCCC4A1AC8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7E1-4AB6-A7FE-BDBCCC4A1AC8}"/>
              </c:ext>
            </c:extLst>
          </c:dPt>
          <c:dPt>
            <c:idx val="5"/>
            <c:bubble3D val="0"/>
            <c:spPr>
              <a:solidFill>
                <a:schemeClr val="bg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7E1-4AB6-A7FE-BDBCCC4A1AC8}"/>
              </c:ext>
            </c:extLst>
          </c:dPt>
          <c:dPt>
            <c:idx val="6"/>
            <c:bubble3D val="0"/>
            <c:spPr>
              <a:solidFill>
                <a:srgbClr val="747480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7E1-4AB6-A7FE-BDBCCC4A1AC8}"/>
              </c:ext>
            </c:extLst>
          </c:dPt>
          <c:dPt>
            <c:idx val="7"/>
            <c:bubble3D val="0"/>
            <c:spPr>
              <a:solidFill>
                <a:srgbClr val="C4C4CD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37E1-4AB6-A7FE-BDBCCC4A1AC8}"/>
              </c:ext>
            </c:extLst>
          </c:dPt>
          <c:val>
            <c:numRef>
              <c:f>Sheet1!$A$1:$A$8</c:f>
              <c:numCache>
                <c:formatCode>General</c:formatCode>
                <c:ptCount val="8"/>
                <c:pt idx="0">
                  <c:v>0</c:v>
                </c:pt>
                <c:pt idx="1">
                  <c:v>9.0727812681400586</c:v>
                </c:pt>
                <c:pt idx="2">
                  <c:v>0</c:v>
                </c:pt>
                <c:pt idx="3">
                  <c:v>47.005884612793913</c:v>
                </c:pt>
                <c:pt idx="4">
                  <c:v>43.92133411906603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E1-4AB6-A7FE-BDBCCC4A1A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93768672641914E-2"/>
          <c:y val="2.2193768672641914E-2"/>
          <c:w val="0.95561246265471622"/>
          <c:h val="0.9556124626547162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3A3-4906-96CA-EAD1E37F2B7B}"/>
              </c:ext>
            </c:extLst>
          </c:dPt>
          <c:dPt>
            <c:idx val="1"/>
            <c:bubble3D val="0"/>
            <c:spPr>
              <a:solidFill>
                <a:srgbClr val="0BBCFF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3A3-4906-96CA-EAD1E37F2B7B}"/>
              </c:ext>
            </c:extLst>
          </c:dPt>
          <c:dPt>
            <c:idx val="2"/>
            <c:bubble3D val="0"/>
            <c:spPr>
              <a:solidFill>
                <a:srgbClr val="FFD200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3A3-4906-96CA-EAD1E37F2B7B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3A3-4906-96CA-EAD1E37F2B7B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63A3-4906-96CA-EAD1E37F2B7B}"/>
              </c:ext>
            </c:extLst>
          </c:dPt>
          <c:dPt>
            <c:idx val="5"/>
            <c:bubble3D val="0"/>
            <c:spPr>
              <a:solidFill>
                <a:srgbClr val="009AD5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3A3-4906-96CA-EAD1E37F2B7B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9525" algn="ctr">
                <a:solidFill>
                  <a:srgbClr val="7474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3A3-4906-96CA-EAD1E37F2B7B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43.921334119066024</c:v>
                </c:pt>
                <c:pt idx="1">
                  <c:v>25.937894851445296</c:v>
                </c:pt>
                <c:pt idx="2">
                  <c:v>13.52170394157311</c:v>
                </c:pt>
                <c:pt idx="3">
                  <c:v>9.0727812681400568</c:v>
                </c:pt>
                <c:pt idx="4">
                  <c:v>4.7201144547498934</c:v>
                </c:pt>
                <c:pt idx="5">
                  <c:v>1.5718593547052604</c:v>
                </c:pt>
                <c:pt idx="6">
                  <c:v>1.2134844946137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3A3-4906-96CA-EAD1E37F2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907</cdr:x>
      <cdr:y>0.01191</cdr:y>
    </cdr:from>
    <cdr:to>
      <cdr:x>0.00907</cdr:x>
      <cdr:y>0.01191</cdr:y>
    </cdr:to>
    <cdr:sp macro="" textlink="">
      <cdr:nvSpPr>
        <cdr:cNvPr id="2" name="UpSlideExportSave" descr="_EXPORT31_2_685414514977.737605_414514977.737605_json{&quot;DestinationType&quot;:&quot;Word&quot;,&quot;WordDestination&quot;:{&quot;FilePath&quot;:&quot;https://people.ey.com/personal/keisi_kapaj_al_ey_com/Documents/Desktop/Thesis.docx&quot;}}" hidden="1">
          <a:extLst xmlns:a="http://schemas.openxmlformats.org/drawingml/2006/main">
            <a:ext uri="{FF2B5EF4-FFF2-40B4-BE49-F238E27FC236}">
              <a16:creationId xmlns:a16="http://schemas.microsoft.com/office/drawing/2014/main" id="{5647E4EB-9ABF-437F-9355-65FA9B341DCB}"/>
            </a:ext>
          </a:extLst>
        </cdr:cNvPr>
        <cdr:cNvSpPr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5400">
          <a:noFill/>
          <a:prstDash val="solid"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25400">
              <a:solidFill>
                <a:schemeClr val="accent1">
                  <a:shade val="50000"/>
                </a:schemeClr>
              </a:solidFill>
              <a:prstDash val="solid"/>
            </a14:hiddenLine>
          </a:ext>
        </a:ex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0907</cdr:x>
      <cdr:y>0.01191</cdr:y>
    </cdr:from>
    <cdr:to>
      <cdr:x>0.00907</cdr:x>
      <cdr:y>0.01191</cdr:y>
    </cdr:to>
    <cdr:sp macro="" textlink="">
      <cdr:nvSpPr>
        <cdr:cNvPr id="3" name="#UpSlide#ChartHasBeenCopiedWithUpSlideActive#" hidden="1">
          <a:extLst xmlns:a="http://schemas.openxmlformats.org/drawingml/2006/main">
            <a:ext uri="{FF2B5EF4-FFF2-40B4-BE49-F238E27FC236}">
              <a16:creationId xmlns:a16="http://schemas.microsoft.com/office/drawing/2014/main" id="{7116455B-5D94-45AC-8D26-8AAE6BA0AE5B}"/>
            </a:ext>
          </a:extLst>
        </cdr:cNvPr>
        <cdr:cNvSpPr/>
      </cdr:nvSpPr>
      <cdr:spPr>
        <a:xfrm xmlns:a="http://schemas.openxmlformats.org/drawingml/2006/main">
          <a:off x="50800" y="50800"/>
          <a:ext cx="0" cy="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3492</cdr:x>
      <cdr:y>0</cdr:y>
    </cdr:from>
    <cdr:to>
      <cdr:x>0.13078</cdr:x>
      <cdr:y>0.08686</cdr:y>
    </cdr:to>
    <cdr:sp macro="" textlink="">
      <cdr:nvSpPr>
        <cdr:cNvPr id="4" name="Text Box 3"/>
        <cdr:cNvSpPr txBox="1"/>
      </cdr:nvSpPr>
      <cdr:spPr>
        <a:xfrm xmlns:a="http://schemas.openxmlformats.org/drawingml/2006/main">
          <a:off x="163360" y="-30163"/>
          <a:ext cx="448453" cy="2738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/>
            <a:t>TWh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941</cdr:x>
      <cdr:y>0.93449</cdr:y>
    </cdr:from>
    <cdr:to>
      <cdr:x>0.9787</cdr:x>
      <cdr:y>1</cdr:y>
    </cdr:to>
    <cdr:sp macro="" textlink="">
      <cdr:nvSpPr>
        <cdr:cNvPr id="994893609" name="Text Box 1"/>
        <cdr:cNvSpPr txBox="1"/>
      </cdr:nvSpPr>
      <cdr:spPr>
        <a:xfrm xmlns:a="http://schemas.openxmlformats.org/drawingml/2006/main">
          <a:off x="2803071" y="2961072"/>
          <a:ext cx="2690142" cy="2075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r"/>
          <a:r>
            <a:rPr lang="en-US" sz="1100" i="1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rPr>
            <a:t>Figure 4</a:t>
          </a:r>
          <a:r>
            <a:rPr lang="en-US" sz="1100" i="0" baseline="0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rPr>
            <a:t> - (Open Power System, 2023)</a:t>
          </a:r>
          <a:r>
            <a:rPr lang="en-US" sz="1100" baseline="0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rPr>
            <a:t> </a:t>
          </a:r>
          <a:endParaRPr lang="en-US" sz="1100">
            <a:latin typeface="Times New Roman" panose="02020603050405020304" pitchFamily="18" charset="0"/>
            <a:ea typeface="Tahoma" panose="020B0604030504040204" pitchFamily="34" charset="0"/>
            <a:cs typeface="Times New Roman" panose="02020603050405020304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BC2B2-86E4-45E9-BA26-043D038546C7}" type="datetimeFigureOut">
              <a:rPr lang="en-GB" smtClean="0"/>
              <a:t>30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46D41B-D221-46C1-8313-0E83A592E1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403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8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" Target="../slides/slide1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" Target="../slides/slide17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" Target="../slides/slide17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">
            <a:extLst>
              <a:ext uri="{FF2B5EF4-FFF2-40B4-BE49-F238E27FC236}">
                <a16:creationId xmlns:a16="http://schemas.microsoft.com/office/drawing/2014/main" id="{873F6EA4-7155-4C01-BE99-DBE3DE7335F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59212C91-34F6-42AD-AF72-BBFA8783B6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" name="Logo Text">
              <a:extLst>
                <a:ext uri="{FF2B5EF4-FFF2-40B4-BE49-F238E27FC236}">
                  <a16:creationId xmlns:a16="http://schemas.microsoft.com/office/drawing/2014/main" id="{DF13958F-4151-4B00-B3F4-FE3E305F48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0" name="EY Panel">
            <a:extLst>
              <a:ext uri="{FF2B5EF4-FFF2-40B4-BE49-F238E27FC236}">
                <a16:creationId xmlns:a16="http://schemas.microsoft.com/office/drawing/2014/main" id="{FF3B1DED-97B0-4AD2-86FF-EC83FC583AE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93723" y="358772"/>
            <a:ext cx="5508626" cy="459413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94D6F-F712-4497-8E8E-E4525831D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6137" y="1655763"/>
            <a:ext cx="4830762" cy="1368000"/>
          </a:xfrm>
        </p:spPr>
        <p:txBody>
          <a:bodyPr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38B462-C28E-4936-9555-D74BE5BA97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6137" y="3219317"/>
            <a:ext cx="4830762" cy="504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Reliance Restricted">
            <a:extLst>
              <a:ext uri="{FF2B5EF4-FFF2-40B4-BE49-F238E27FC236}">
                <a16:creationId xmlns:a16="http://schemas.microsoft.com/office/drawing/2014/main" id="{CACD9C5F-5902-47D7-8CFA-ACD1F7143B11}"/>
              </a:ext>
            </a:extLst>
          </p:cNvPr>
          <p:cNvSpPr txBox="1">
            <a:spLocks/>
          </p:cNvSpPr>
          <p:nvPr userDrawn="1"/>
        </p:nvSpPr>
        <p:spPr>
          <a:xfrm>
            <a:off x="846138" y="3929240"/>
            <a:ext cx="4830762" cy="246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liance Restricted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711DC92-80F6-4E1F-8471-2182045D2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6137" y="4376364"/>
            <a:ext cx="4830762" cy="252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dirty="0"/>
              <a:t>XX Month 20XX | Version XX (Draft)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C04DC270-BFBB-4368-B5C1-F36B628CF5E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BC76B78-C739-49A3-960A-8E8C812DB3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237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6299200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002463" y="1476375"/>
            <a:ext cx="3095625" cy="5543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030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476375"/>
            <a:ext cx="3095625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464" y="1476375"/>
            <a:ext cx="3095625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3CF7E5-2EFE-417A-BF99-C724B07B5FB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476375"/>
            <a:ext cx="3095625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828563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476375"/>
            <a:ext cx="6302375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6" y="1476375"/>
            <a:ext cx="1492250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8" y="1476375"/>
            <a:ext cx="1492250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8294441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conclusion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6299200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6299200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3554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9504363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4" y="1680354"/>
            <a:ext cx="9504363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4" y="1366838"/>
            <a:ext cx="9504363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565194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800225"/>
            <a:ext cx="3095625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8888" y="1800225"/>
            <a:ext cx="6299200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23294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two columns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800225"/>
            <a:ext cx="3095625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98888" y="1800225"/>
            <a:ext cx="6299200" cy="5219700"/>
          </a:xfrm>
        </p:spPr>
        <p:txBody>
          <a:bodyPr numCol="2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3215174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002463" y="1800225"/>
            <a:ext cx="3095625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7002463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2463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800225"/>
            <a:ext cx="6299200" cy="5219700"/>
          </a:xfrm>
        </p:spPr>
        <p:txBody>
          <a:bodyPr numCol="1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58052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9087" y="1800225"/>
            <a:ext cx="4699001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5400676" y="1681874"/>
            <a:ext cx="4697412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087" y="1366838"/>
            <a:ext cx="4699001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800225"/>
            <a:ext cx="4695032" cy="5219700"/>
          </a:xfrm>
        </p:spPr>
        <p:txBody>
          <a:bodyPr numCol="1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4697413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4695032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1818562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800225"/>
            <a:ext cx="3095625" cy="521970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3798888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98888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800225"/>
            <a:ext cx="3095625" cy="5219700"/>
          </a:xfrm>
        </p:spPr>
        <p:txBody>
          <a:bodyPr numCol="1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763"/>
            <a:ext cx="3095625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4" y="1800225"/>
            <a:ext cx="3095625" cy="521894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15" name="Straight Connector_Sub Headline 1">
            <a:extLst>
              <a:ext uri="{FF2B5EF4-FFF2-40B4-BE49-F238E27FC236}">
                <a16:creationId xmlns:a16="http://schemas.microsoft.com/office/drawing/2014/main" id="{54985A9F-20EC-48DC-87A6-164C5AE5B336}"/>
              </a:ext>
            </a:extLst>
          </p:cNvPr>
          <p:cNvCxnSpPr>
            <a:cxnSpLocks/>
          </p:cNvCxnSpPr>
          <p:nvPr userDrawn="1"/>
        </p:nvCxnSpPr>
        <p:spPr>
          <a:xfrm flipV="1">
            <a:off x="7002464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95C42B2-1EB4-4113-8219-DE5EA43FA3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2464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6519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 dirty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 dirty="0"/>
            </a:p>
          </p:txBody>
        </p:sp>
      </p:grpSp>
      <p:sp>
        <p:nvSpPr>
          <p:cNvPr id="12" name="Reliance Restricted">
            <a:extLst>
              <a:ext uri="{FF2B5EF4-FFF2-40B4-BE49-F238E27FC236}">
                <a16:creationId xmlns:a16="http://schemas.microsoft.com/office/drawing/2014/main" id="{074560B9-5BD6-4FF9-AFB3-18E313A62F43}"/>
              </a:ext>
            </a:extLst>
          </p:cNvPr>
          <p:cNvSpPr txBox="1"/>
          <p:nvPr userDrawn="1"/>
        </p:nvSpPr>
        <p:spPr>
          <a:xfrm>
            <a:off x="3005138" y="360764"/>
            <a:ext cx="2284412" cy="1538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None/>
            </a:pPr>
            <a:r>
              <a:rPr lang="en-GB" sz="1000" b="1" kern="0" noProof="0" dirty="0">
                <a:solidFill>
                  <a:srgbClr val="2E2E38"/>
                </a:solidFill>
                <a:latin typeface="+mn-lt"/>
                <a:cs typeface="Arial" panose="020B0604020202020204" pitchFamily="34" charset="0"/>
              </a:rPr>
              <a:t>Reliance Restrict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BF651E-9BF5-4DF1-A9C1-299577E73E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5138" y="1655763"/>
            <a:ext cx="4681537" cy="287337"/>
          </a:xfrm>
        </p:spPr>
        <p:txBody>
          <a:bodyPr anchor="t">
            <a:noAutofit/>
          </a:bodyPr>
          <a:lstStyle>
            <a:lvl1pPr>
              <a:defRPr sz="1100" b="1"/>
            </a:lvl1pPr>
          </a:lstStyle>
          <a:p>
            <a:pPr lvl="0"/>
            <a:r>
              <a:rPr lang="en-GB" dirty="0"/>
              <a:t>Project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F50F3ED-EEC0-42AC-ACFD-9B32E91D6D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94625" y="1655763"/>
            <a:ext cx="2303463" cy="287337"/>
          </a:xfrm>
        </p:spPr>
        <p:txBody>
          <a:bodyPr anchor="t">
            <a:noAutofit/>
          </a:bodyPr>
          <a:lstStyle>
            <a:lvl1pPr algn="r">
              <a:defRPr sz="1100" b="1"/>
            </a:lvl1pPr>
          </a:lstStyle>
          <a:p>
            <a:pPr lvl="0"/>
            <a:r>
              <a:rPr lang="en-GB" dirty="0"/>
              <a:t>dd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2051049"/>
            <a:ext cx="7092950" cy="496887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61CFA5D-C961-469B-BD6A-2110A0177B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5138" y="593725"/>
            <a:ext cx="4681537" cy="882650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en-GB" dirty="0"/>
              <a:t>Put the client contact name and address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 dirty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763A5A5-0D0E-47DF-AC91-7CFEFB3F73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25" y="3260895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EACDA65-365B-4B85-AD46-654A3F5316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3725" y="3471207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el: +## #### #### #### </a:t>
            </a:r>
            <a:br>
              <a:rPr lang="en-GB" dirty="0"/>
            </a:br>
            <a:r>
              <a:rPr lang="en-GB" dirty="0"/>
              <a:t>Mobile: +## #### #### #### </a:t>
            </a:r>
            <a:br>
              <a:rPr lang="en-GB" dirty="0"/>
            </a:br>
            <a:r>
              <a:rPr lang="en-GB" dirty="0"/>
              <a:t>Email: </a:t>
            </a:r>
            <a:r>
              <a:rPr lang="en-GB" dirty="0" err="1"/>
              <a:t>xxx@xxx</a:t>
            </a:r>
            <a:endParaRPr lang="en-GB" dirty="0"/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63191263-261E-4143-A475-9D552C804A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725" y="3096303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dirty="0"/>
              <a:t>Partner or senior manager name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E8881A19-C392-4443-B900-6599F53134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3725" y="448058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35E1077-1D62-4FED-A5EB-E30FCE9B73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3725" y="469089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el: +## #### #### #### </a:t>
            </a:r>
            <a:br>
              <a:rPr lang="en-GB" dirty="0"/>
            </a:br>
            <a:r>
              <a:rPr lang="en-GB" dirty="0"/>
              <a:t>Mobile: +## #### #### #### </a:t>
            </a:r>
            <a:br>
              <a:rPr lang="en-GB" dirty="0"/>
            </a:br>
            <a:r>
              <a:rPr lang="en-GB" dirty="0"/>
              <a:t>Email: </a:t>
            </a:r>
            <a:r>
              <a:rPr lang="en-GB" dirty="0" err="1"/>
              <a:t>xxx@xxx</a:t>
            </a:r>
            <a:endParaRPr lang="en-GB" dirty="0"/>
          </a:p>
        </p:txBody>
      </p:sp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BF675033-102C-44BE-A068-3E871AB4D9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3725" y="4312455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dirty="0"/>
              <a:t>Partner or senior manager name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C17C35C2-3199-48A4-B484-8B34BB03B1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3725" y="5510319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 dirty="0"/>
              <a:t>Partner or senior manager name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2E29F7A9-C6E1-469A-A193-F90CD26595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3725" y="567775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2E766C8B-0E5D-445B-AA29-5779FAA484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3725" y="588806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 dirty="0"/>
              <a:t>Tel: +## #### #### #### </a:t>
            </a:r>
            <a:br>
              <a:rPr lang="en-GB" dirty="0"/>
            </a:br>
            <a:r>
              <a:rPr lang="en-GB" dirty="0"/>
              <a:t>Mobile: +## #### #### #### </a:t>
            </a:r>
            <a:br>
              <a:rPr lang="en-GB" dirty="0"/>
            </a:br>
            <a:r>
              <a:rPr lang="en-GB" dirty="0"/>
              <a:t>Email: </a:t>
            </a:r>
            <a:r>
              <a:rPr lang="en-GB" dirty="0" err="1"/>
              <a:t>xxx@xxx</a:t>
            </a:r>
            <a:endParaRPr lang="en-GB" dirty="0"/>
          </a:p>
        </p:txBody>
      </p:sp>
      <p:sp>
        <p:nvSpPr>
          <p:cNvPr id="3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3AE059D-DBD8-ECB6-E375-33B1A73B704F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0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8386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9222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2" spcCol="108000"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9053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3 lay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3" spcCol="108000"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27596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F58689-F86C-4A88-A73B-29A1C64653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366838"/>
            <a:ext cx="4695032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870D7D3-288E-4C24-B4AA-316E3564D2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99087" y="1366838"/>
            <a:ext cx="4699001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618509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366838"/>
            <a:ext cx="6300788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002463" y="1366838"/>
            <a:ext cx="3095626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1268292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366838"/>
            <a:ext cx="6300788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002463" y="1366838"/>
            <a:ext cx="3095626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956405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366838"/>
            <a:ext cx="3095625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97302" y="1366838"/>
            <a:ext cx="6300787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124818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366838"/>
            <a:ext cx="3095625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97302" y="1366838"/>
            <a:ext cx="6300787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74653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366838"/>
            <a:ext cx="3095625" cy="5653087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366838"/>
            <a:ext cx="3095625" cy="5653087"/>
          </a:xfrm>
        </p:spPr>
        <p:txBody>
          <a:bodyPr numCol="1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4" y="1366838"/>
            <a:ext cx="3095625" cy="5653087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34713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1655763"/>
            <a:ext cx="7092950" cy="5364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/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 dirty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11B1DCB1-E048-9222-68E0-7A613A62763D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46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-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366838"/>
            <a:ext cx="6302375" cy="5653087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6" y="1366838"/>
            <a:ext cx="1492250" cy="5653087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8" y="1366838"/>
            <a:ext cx="1492250" cy="5653087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89412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 dirty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042BF69-10E5-2D51-0A3A-11465322F18F}"/>
              </a:ext>
            </a:extLst>
          </p:cNvPr>
          <p:cNvSpPr/>
          <p:nvPr userDrawn="1"/>
        </p:nvSpPr>
        <p:spPr>
          <a:xfrm>
            <a:off x="-2458377" y="-1"/>
            <a:ext cx="2232248" cy="183562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 dirty="0">
                <a:solidFill>
                  <a:schemeClr val="bg1"/>
                </a:solidFill>
              </a:rPr>
              <a:t>Alternative divider images</a:t>
            </a:r>
          </a:p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bg1"/>
                </a:solidFill>
              </a:rPr>
              <a:t>Sector specific images can be found in the </a:t>
            </a:r>
            <a:r>
              <a:rPr lang="en-US" sz="1000" i="1" dirty="0">
                <a:solidFill>
                  <a:schemeClr val="bg1"/>
                </a:solidFill>
              </a:rPr>
              <a:t>UpSlide Library</a:t>
            </a:r>
            <a:r>
              <a:rPr lang="en-US" sz="1000" dirty="0">
                <a:solidFill>
                  <a:schemeClr val="bg1"/>
                </a:solidFill>
              </a:rPr>
              <a:t>, quickly search for the sector in the search bar or go to the Images folder.</a:t>
            </a:r>
          </a:p>
          <a:p>
            <a:pPr>
              <a:spcAft>
                <a:spcPts val="600"/>
              </a:spcAft>
            </a:pPr>
            <a:r>
              <a:rPr lang="en-US" sz="1000" i="1" dirty="0">
                <a:solidFill>
                  <a:schemeClr val="bg1"/>
                </a:solidFill>
              </a:rPr>
              <a:t>Double click </a:t>
            </a:r>
            <a:r>
              <a:rPr lang="en-US" sz="1000" dirty="0">
                <a:solidFill>
                  <a:schemeClr val="bg1"/>
                </a:solidFill>
              </a:rPr>
              <a:t>to insert from the Library and ‘send to back’</a:t>
            </a:r>
          </a:p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bg1"/>
                </a:solidFill>
              </a:rPr>
              <a:t>If you want a grey background, press </a:t>
            </a:r>
            <a:r>
              <a:rPr lang="en-US" sz="1000" i="1" dirty="0">
                <a:solidFill>
                  <a:schemeClr val="bg1"/>
                </a:solidFill>
              </a:rPr>
              <a:t>Ctrl+Shift+K</a:t>
            </a:r>
            <a:r>
              <a:rPr lang="en-US" sz="1000" i="0" dirty="0">
                <a:solidFill>
                  <a:schemeClr val="bg1"/>
                </a:solidFill>
              </a:rPr>
              <a:t> or use the Layouts button to switch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4765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 dirty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50796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 dirty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8420318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 dirty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6350667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94346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0DB3375E-6F3C-490C-BBB3-290683AC392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6" name="Logo Beam">
              <a:extLst>
                <a:ext uri="{FF2B5EF4-FFF2-40B4-BE49-F238E27FC236}">
                  <a16:creationId xmlns:a16="http://schemas.microsoft.com/office/drawing/2014/main" id="{D23C0C13-CE26-4187-AC79-D677F79203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" name="Logo Text">
              <a:extLst>
                <a:ext uri="{FF2B5EF4-FFF2-40B4-BE49-F238E27FC236}">
                  <a16:creationId xmlns:a16="http://schemas.microsoft.com/office/drawing/2014/main" id="{D1BA258E-9883-4D54-82A3-D35D28C11E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0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A20AA430-0C93-A249-C435-0023FD5B4EA6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076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meric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Back cover A4 - Americas">
            <a:extLst>
              <a:ext uri="{FF2B5EF4-FFF2-40B4-BE49-F238E27FC236}">
                <a16:creationId xmlns:a16="http://schemas.microsoft.com/office/drawing/2014/main" id="{9227890F-F63D-4E15-8F1E-866191DA6639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10691813" cy="7559675"/>
            <a:chOff x="0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206F36-D856-4FC3-AA03-C9A6630FEA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0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EFC29266-C4B6-4F86-9A31-9C829A8BF3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3000153D-B4A6-4060-A44F-74AA305F7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9AB1B0F2-CDFC-4607-90D5-C6C22CEF42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</p:grpSp>
      </p:grpSp>
      <p:sp>
        <p:nvSpPr>
          <p:cNvPr id="6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F6509D2C-AE4B-C367-F5C8-FAE031C92AAB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953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P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Back cover A4 - APAC">
            <a:extLst>
              <a:ext uri="{FF2B5EF4-FFF2-40B4-BE49-F238E27FC236}">
                <a16:creationId xmlns:a16="http://schemas.microsoft.com/office/drawing/2014/main" id="{E793FD12-CA5A-4F58-9A40-26BC0C029881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-1"/>
            <a:ext cx="10691813" cy="7559675"/>
            <a:chOff x="-1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E8E09DD-B4EB-4A35-8BD9-F3562C40C0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DB07DACC-08EF-48FA-A7A4-BCD72D49F1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54EA3D94-54DC-46E8-B8E5-86F2DAEFB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6D9163B3-1E2C-4E6A-B7E0-F937C57852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</p:grpSp>
      </p:grpSp>
      <p:sp>
        <p:nvSpPr>
          <p:cNvPr id="6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AD2B045-5A19-8E2F-23CB-741582FE3DEF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7861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EME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4" name="Back cover A4 - EMEIA">
            <a:extLst>
              <a:ext uri="{FF2B5EF4-FFF2-40B4-BE49-F238E27FC236}">
                <a16:creationId xmlns:a16="http://schemas.microsoft.com/office/drawing/2014/main" id="{C99EBA48-C5B3-4735-97C3-3274F70A3B66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-1" y="0"/>
            <a:ext cx="10691813" cy="7559675"/>
            <a:chOff x="-1" y="0"/>
            <a:chExt cx="10691813" cy="755967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339BCC4-189B-40A6-BA10-76EA6B923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6" name="Logo">
              <a:extLst>
                <a:ext uri="{FF2B5EF4-FFF2-40B4-BE49-F238E27FC236}">
                  <a16:creationId xmlns:a16="http://schemas.microsoft.com/office/drawing/2014/main" id="{7BD8DA88-C40F-4234-B44A-A9669A7E62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7" name="Logo Beam">
                <a:extLst>
                  <a:ext uri="{FF2B5EF4-FFF2-40B4-BE49-F238E27FC236}">
                    <a16:creationId xmlns:a16="http://schemas.microsoft.com/office/drawing/2014/main" id="{89FA7AC0-3CA9-4D1A-87B0-E8B3F24DA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  <p:sp>
            <p:nvSpPr>
              <p:cNvPr id="18" name="Logo Text">
                <a:extLst>
                  <a:ext uri="{FF2B5EF4-FFF2-40B4-BE49-F238E27FC236}">
                    <a16:creationId xmlns:a16="http://schemas.microsoft.com/office/drawing/2014/main" id="{487F120E-598B-4462-9318-91BB3541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 dirty="0"/>
              </a:p>
            </p:txBody>
          </p:sp>
        </p:grpSp>
      </p:grpSp>
      <p:sp>
        <p:nvSpPr>
          <p:cNvPr id="6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2B279737-A1F7-6C79-BEA0-CBACE01D4014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13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3018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988378C-0B11-4281-8D58-8B1068777AE4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17C064-C2BC-48FA-A33F-E4B41439E8B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795322" y="2097551"/>
            <a:ext cx="701700" cy="220060"/>
          </a:xfrm>
          <a:prstGeom prst="rect">
            <a:avLst/>
          </a:prstGeom>
          <a:noFill/>
        </p:spPr>
        <p:txBody>
          <a:bodyPr wrap="square" lIns="0" tIns="36576" rIns="0" bIns="0" rtlCol="0" anchor="b">
            <a:spAutoFit/>
          </a:bodyPr>
          <a:lstStyle/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400" dirty="0">
                <a:solidFill>
                  <a:schemeClr val="bg1"/>
                </a:solidFill>
              </a:rPr>
              <a:t>2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EB948-550A-473A-9A12-9754DAA66C38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3" y="4472149"/>
            <a:ext cx="9504364" cy="54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600" dirty="0"/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91CF0-7B6D-42AB-99D2-FD1868F0E4B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593724" y="1366838"/>
            <a:ext cx="9504365" cy="56530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9" name="TextBox 34">
            <a:hlinkClick r:id="rId12" action="ppaction://hlinksldjump"/>
            <a:extLst>
              <a:ext uri="{FF2B5EF4-FFF2-40B4-BE49-F238E27FC236}">
                <a16:creationId xmlns:a16="http://schemas.microsoft.com/office/drawing/2014/main" id="{56F2F4F3-6632-4901-9A7C-4B998448CF25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93724" y="1763713"/>
            <a:ext cx="904914" cy="553998"/>
          </a:xfrm>
          <a:prstGeom prst="rect">
            <a:avLst/>
          </a:prstGeom>
          <a:blipFill>
            <a:blip r:embed="rId1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4800" b="1" dirty="0">
                <a:solidFill>
                  <a:schemeClr val="bg1"/>
                </a:solidFill>
                <a:latin typeface="+mj-lt"/>
              </a:rPr>
              <a:t>11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6CCBEF7-179C-4122-BF4E-49FDED6C6154}"/>
              </a:ext>
            </a:extLst>
          </p:cNvPr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93724" y="2692084"/>
            <a:ext cx="648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 dirty="0">
                <a:noFill/>
                <a:latin typeface="Garamond" pitchFamily="18" charset="0"/>
              </a:rPr>
              <a:t>1.1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E681E22C-28F9-4932-8F1F-5AA30782F68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0098434" y="1763613"/>
            <a:ext cx="36000" cy="553998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chemeClr val="accent2"/>
              </a:buClr>
              <a:buSzPct val="70000"/>
            </a:pPr>
            <a:r>
              <a:rPr lang="en-GB" sz="14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A63E7758-C9CA-44F6-BA27-B3F566723D4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477511" y="1763613"/>
            <a:ext cx="8568000" cy="553998"/>
          </a:xfrm>
          <a:prstGeom prst="rect">
            <a:avLst/>
          </a:prstGeom>
          <a:noFill/>
        </p:spPr>
        <p:txBody>
          <a:bodyPr wrap="square" lIns="144000" tIns="0" rIns="75600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2633A7-8D14-43D7-8E77-F61E82A4FF4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477513" y="3491805"/>
            <a:ext cx="8260882" cy="180020"/>
          </a:xfrm>
          <a:prstGeom prst="rect">
            <a:avLst/>
          </a:prstGeom>
          <a:noFill/>
        </p:spPr>
        <p:txBody>
          <a:bodyPr vert="horz" wrap="square" lIns="144000" tIns="0" rIns="756000" bIns="0" rtlCol="0">
            <a:noAutofit/>
          </a:bodyPr>
          <a:lstStyle>
            <a:defPPr>
              <a:defRPr lang="en-US"/>
            </a:defPPr>
            <a:lvl1pPr lv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sz="1200" dirty="0">
                <a:solidFill>
                  <a:schemeClr val="bg1"/>
                </a:solidFill>
              </a:rPr>
              <a:t>A</a:t>
            </a: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3BE3C8-73C4-4098-B34A-F1AEA0B4EBE2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98434" y="3491805"/>
            <a:ext cx="36000" cy="180020"/>
          </a:xfrm>
          <a:prstGeom prst="rect">
            <a:avLst/>
          </a:prstGeom>
          <a:noFill/>
        </p:spPr>
        <p:txBody>
          <a:bodyPr wrap="none" lIns="0" tIns="0" rIns="108000" bIns="0" rtlCol="0" anchor="t">
            <a:noAutofit/>
          </a:bodyPr>
          <a:lstStyle>
            <a:defPPr>
              <a:defRPr lang="en-US"/>
            </a:defPPr>
            <a:lvl1pPr lvl="0" algn="r"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26DDA2-B72E-E815-434D-4CB4158C3451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985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9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7506B3D-2B5F-43DE-96E3-1C3A356F0E6A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A84CC-BB7A-4CE9-A56A-CA1D12DDD2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7532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7" name="Slide title">
            <a:extLst>
              <a:ext uri="{FF2B5EF4-FFF2-40B4-BE49-F238E27FC236}">
                <a16:creationId xmlns:a16="http://schemas.microsoft.com/office/drawing/2014/main" id="{336A6FD8-F7D5-4CF5-98A9-3942D0773A66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400" dirty="0"/>
              <a:t>A</a:t>
            </a:r>
          </a:p>
        </p:txBody>
      </p:sp>
      <p:sp>
        <p:nvSpPr>
          <p:cNvPr id="24" name="Slide page number">
            <a:extLst>
              <a:ext uri="{FF2B5EF4-FFF2-40B4-BE49-F238E27FC236}">
                <a16:creationId xmlns:a16="http://schemas.microsoft.com/office/drawing/2014/main" id="{952DE640-3D64-4CCD-A316-E0D9EAF5D76E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square" lIns="0" tIns="0" rIns="108000" bIns="0" rtlCol="0">
            <a:noAutofit/>
          </a:bodyPr>
          <a:lstStyle/>
          <a:p>
            <a:pPr algn="r"/>
            <a:r>
              <a:rPr lang="en-GB" sz="1400" dirty="0"/>
              <a:t>4</a:t>
            </a:r>
          </a:p>
        </p:txBody>
      </p:sp>
      <p:sp>
        <p:nvSpPr>
          <p:cNvPr id="25" name="Zone de tracé">
            <a:extLst>
              <a:ext uri="{FF2B5EF4-FFF2-40B4-BE49-F238E27FC236}">
                <a16:creationId xmlns:a16="http://schemas.microsoft.com/office/drawing/2014/main" id="{E455527E-A4BC-484D-A81F-FAD3EB8D751E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6" name="Section page number">
            <a:extLst>
              <a:ext uri="{FF2B5EF4-FFF2-40B4-BE49-F238E27FC236}">
                <a16:creationId xmlns:a16="http://schemas.microsoft.com/office/drawing/2014/main" id="{DCB2BDA0-D65D-4D09-9CF8-BA2B15CE0162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0098088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 dirty="0">
                <a:noFill/>
              </a:rPr>
              <a:t>4</a:t>
            </a:r>
          </a:p>
        </p:txBody>
      </p:sp>
      <p:sp>
        <p:nvSpPr>
          <p:cNvPr id="27" name="Section num">
            <a:hlinkClick r:id="rId13" action="ppaction://hlinksldjump"/>
            <a:extLst>
              <a:ext uri="{FF2B5EF4-FFF2-40B4-BE49-F238E27FC236}">
                <a16:creationId xmlns:a16="http://schemas.microsoft.com/office/drawing/2014/main" id="{4667D5FC-8E20-4327-832D-2BC4E0D0FF0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90400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 dirty="0">
                <a:solidFill>
                  <a:srgbClr val="747480">
                    <a:alpha val="84000"/>
                  </a:srgbClr>
                </a:solidFill>
              </a:rPr>
              <a:t>1</a:t>
            </a:r>
          </a:p>
        </p:txBody>
      </p:sp>
      <p:sp>
        <p:nvSpPr>
          <p:cNvPr id="28" name="Section name">
            <a:extLst>
              <a:ext uri="{FF2B5EF4-FFF2-40B4-BE49-F238E27FC236}">
                <a16:creationId xmlns:a16="http://schemas.microsoft.com/office/drawing/2014/main" id="{5998218C-3B21-4FBD-B632-D2888E36AF11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3724" y="3852888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 dirty="0"/>
              <a:t>A</a:t>
            </a:r>
          </a:p>
        </p:txBody>
      </p:sp>
      <p:sp>
        <p:nvSpPr>
          <p:cNvPr id="30" name="Subsection index">
            <a:extLst>
              <a:ext uri="{FF2B5EF4-FFF2-40B4-BE49-F238E27FC236}">
                <a16:creationId xmlns:a16="http://schemas.microsoft.com/office/drawing/2014/main" id="{3F2820DF-AEBC-43AD-BB3A-485D6F86413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593724" y="3852888"/>
            <a:ext cx="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 dirty="0">
                <a:noFill/>
                <a:latin typeface="+mn-lt"/>
              </a:rPr>
              <a:t>1.1</a:t>
            </a:r>
          </a:p>
        </p:txBody>
      </p:sp>
      <p:sp>
        <p:nvSpPr>
          <p:cNvPr id="31" name="Subsection page number">
            <a:extLst>
              <a:ext uri="{FF2B5EF4-FFF2-40B4-BE49-F238E27FC236}">
                <a16:creationId xmlns:a16="http://schemas.microsoft.com/office/drawing/2014/main" id="{71308BC8-AD29-4F67-AB59-69065E6302F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 dirty="0"/>
              <a:t>A</a:t>
            </a:r>
          </a:p>
        </p:txBody>
      </p:sp>
      <p:sp>
        <p:nvSpPr>
          <p:cNvPr id="32" name="Subsection name">
            <a:extLst>
              <a:ext uri="{FF2B5EF4-FFF2-40B4-BE49-F238E27FC236}">
                <a16:creationId xmlns:a16="http://schemas.microsoft.com/office/drawing/2014/main" id="{AB49274D-3C71-4A37-8A5D-BCE1AA32E29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dirty="0"/>
              <a:t>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A46871-F239-AE32-BC4C-27C2CDBCDE7E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50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AA2A83-0961-49D8-BD15-0A012085E612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/>
          </a:p>
        </p:txBody>
      </p:sp>
      <p:sp>
        <p:nvSpPr>
          <p:cNvPr id="14" name="Zone de tracé">
            <a:extLst>
              <a:ext uri="{FF2B5EF4-FFF2-40B4-BE49-F238E27FC236}">
                <a16:creationId xmlns:a16="http://schemas.microsoft.com/office/drawing/2014/main" id="{2F503CBF-23C5-4C74-BE2C-42EE98FFE4A6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8FBF30B0-A03B-4E79-BF59-945C05E06C4C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93724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noFill/>
                <a:latin typeface="+mj-lt"/>
              </a:rPr>
              <a:t>1</a:t>
            </a:r>
          </a:p>
        </p:txBody>
      </p:sp>
      <p:sp>
        <p:nvSpPr>
          <p:cNvPr id="16" name="Section name">
            <a:extLst>
              <a:ext uri="{FF2B5EF4-FFF2-40B4-BE49-F238E27FC236}">
                <a16:creationId xmlns:a16="http://schemas.microsoft.com/office/drawing/2014/main" id="{CB038292-B2CE-47AA-8142-6967A4C383D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 flipH="1">
            <a:off x="593376" y="3784478"/>
            <a:ext cx="9506847" cy="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" b="1" dirty="0">
                <a:noFill/>
                <a:latin typeface="+mj-lt"/>
              </a:rPr>
              <a:t>A</a:t>
            </a:r>
          </a:p>
        </p:txBody>
      </p:sp>
      <p:sp>
        <p:nvSpPr>
          <p:cNvPr id="17" name="Slide page number">
            <a:extLst>
              <a:ext uri="{FF2B5EF4-FFF2-40B4-BE49-F238E27FC236}">
                <a16:creationId xmlns:a16="http://schemas.microsoft.com/office/drawing/2014/main" id="{E2359BE7-7148-4D15-88E2-89C61B3B694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 dirty="0"/>
              <a:t>4</a:t>
            </a:r>
          </a:p>
        </p:txBody>
      </p:sp>
      <p:sp>
        <p:nvSpPr>
          <p:cNvPr id="18" name="Subsection index">
            <a:hlinkClick r:id="rId12" action="ppaction://hlinksldjump"/>
            <a:extLst>
              <a:ext uri="{FF2B5EF4-FFF2-40B4-BE49-F238E27FC236}">
                <a16:creationId xmlns:a16="http://schemas.microsoft.com/office/drawing/2014/main" id="{1E182D62-5062-4078-85BD-8DAC8EEF9F5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91238" y="3784992"/>
            <a:ext cx="0" cy="0"/>
          </a:xfrm>
          <a:prstGeom prst="rect">
            <a:avLst/>
          </a:prstGeom>
          <a:noFill/>
        </p:spPr>
        <p:txBody>
          <a:bodyPr vert="horz" wrap="non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 dirty="0">
                <a:solidFill>
                  <a:srgbClr val="747480">
                    <a:alpha val="84000"/>
                  </a:srgbClr>
                </a:solidFill>
              </a:rPr>
              <a:t>1.1</a:t>
            </a:r>
          </a:p>
        </p:txBody>
      </p:sp>
      <p:sp>
        <p:nvSpPr>
          <p:cNvPr id="19" name="Subsection name">
            <a:hlinkClick r:id="rId12" action="ppaction://hlinksldjump"/>
            <a:extLst>
              <a:ext uri="{FF2B5EF4-FFF2-40B4-BE49-F238E27FC236}">
                <a16:creationId xmlns:a16="http://schemas.microsoft.com/office/drawing/2014/main" id="{0912199B-F3FA-4468-A0F8-EAAF0F7A6A9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93378" y="3795470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 dirty="0"/>
              <a:t>A</a:t>
            </a:r>
          </a:p>
        </p:txBody>
      </p:sp>
      <p:sp>
        <p:nvSpPr>
          <p:cNvPr id="20" name="Section  page number">
            <a:extLst>
              <a:ext uri="{FF2B5EF4-FFF2-40B4-BE49-F238E27FC236}">
                <a16:creationId xmlns:a16="http://schemas.microsoft.com/office/drawing/2014/main" id="{509906C5-365B-4024-9E89-BC86D78649A2}"/>
              </a:ext>
            </a:extLst>
          </p:cNvPr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098088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 dirty="0">
                <a:noFill/>
                <a:latin typeface="+mn-lt"/>
              </a:rPr>
              <a:t>1.1</a:t>
            </a:r>
          </a:p>
        </p:txBody>
      </p:sp>
      <p:sp>
        <p:nvSpPr>
          <p:cNvPr id="21" name="Subsection number page">
            <a:extLst>
              <a:ext uri="{FF2B5EF4-FFF2-40B4-BE49-F238E27FC236}">
                <a16:creationId xmlns:a16="http://schemas.microsoft.com/office/drawing/2014/main" id="{0A698E57-09FC-450F-B973-E8C0FBF9FE5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044088" y="3852888"/>
            <a:ext cx="54000" cy="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 b="1" dirty="0">
                <a:noFill/>
                <a:latin typeface="+mj-lt"/>
              </a:rPr>
              <a:t>1</a:t>
            </a:r>
          </a:p>
        </p:txBody>
      </p:sp>
      <p:sp>
        <p:nvSpPr>
          <p:cNvPr id="22" name="Slide title">
            <a:extLst>
              <a:ext uri="{FF2B5EF4-FFF2-40B4-BE49-F238E27FC236}">
                <a16:creationId xmlns:a16="http://schemas.microsoft.com/office/drawing/2014/main" id="{B4A83DB4-2B96-4270-8297-8A781AEE65B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dirty="0"/>
              <a:t>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3378DF-F7FC-98D8-8383-7654F8D33C1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87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02AF90A-5467-4FD7-81C7-3FF6097B735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99440" y="291356"/>
            <a:ext cx="6295072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000" b="1">
                <a:solidFill>
                  <a:schemeClr val="bg1"/>
                </a:solidFill>
                <a:latin typeface="+mj-lt"/>
              </a:rPr>
              <a:t>&lt;%SUBSECNUMELSESECNUM%&gt;&lt;%DOTIFSUBSECORSECNUM%&gt;&lt;%SPACEIFSUBSECORSECNUM%&gt;&lt;%SUBSECNAMEELSESECNAME%&gt;</a:t>
            </a:r>
            <a:endParaRPr lang="en-GB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2CAED1-214B-6E5C-6828-B2EC7C1B4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5456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Slide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her Sections" descr="{ &quot;DisplayMode&quot; : &quot;SectionsOnly&quot; , &quot;TrimTitles&quot; : &quot;True&quot; }">
            <a:extLst>
              <a:ext uri="{FF2B5EF4-FFF2-40B4-BE49-F238E27FC236}">
                <a16:creationId xmlns:a16="http://schemas.microsoft.com/office/drawing/2014/main" id="{18E6468C-D0C4-461D-A3D3-7D0CDE22F54C}"/>
              </a:ext>
            </a:extLst>
          </p:cNvPr>
          <p:cNvSpPr txBox="1"/>
          <p:nvPr userDrawn="1"/>
        </p:nvSpPr>
        <p:spPr>
          <a:xfrm>
            <a:off x="594000" y="179388"/>
            <a:ext cx="792000" cy="320400"/>
          </a:xfrm>
          <a:prstGeom prst="round2SameRect">
            <a:avLst/>
          </a:prstGeom>
          <a:solidFill>
            <a:srgbClr val="C4C4CD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 dirty="0">
                <a:solidFill>
                  <a:schemeClr val="bg1"/>
                </a:solidFill>
              </a:rPr>
              <a:t>Other Sections</a:t>
            </a:r>
          </a:p>
        </p:txBody>
      </p:sp>
      <p:sp>
        <p:nvSpPr>
          <p:cNvPr id="5" name="Current Section">
            <a:extLst>
              <a:ext uri="{FF2B5EF4-FFF2-40B4-BE49-F238E27FC236}">
                <a16:creationId xmlns:a16="http://schemas.microsoft.com/office/drawing/2014/main" id="{C41EC61E-26A4-424C-8C59-3FD6CA01EF14}"/>
              </a:ext>
            </a:extLst>
          </p:cNvPr>
          <p:cNvSpPr txBox="1"/>
          <p:nvPr userDrawn="1"/>
        </p:nvSpPr>
        <p:spPr>
          <a:xfrm>
            <a:off x="1385466" y="179389"/>
            <a:ext cx="792000" cy="320400"/>
          </a:xfrm>
          <a:prstGeom prst="round2SameRect">
            <a:avLst/>
          </a:prstGeom>
          <a:solidFill>
            <a:schemeClr val="tx2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 dirty="0">
                <a:solidFill>
                  <a:schemeClr val="bg1"/>
                </a:solidFill>
              </a:rPr>
              <a:t>Current S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62A7F5-55F1-2AA3-B641-6285F821D3C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3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3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6322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 numCol="2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25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 numCol="3" spcCol="108000"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245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4695032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99087" y="1476375"/>
            <a:ext cx="4699001" cy="55435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3339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3095625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98888" y="1476375"/>
            <a:ext cx="6299200" cy="5543550"/>
          </a:xfrm>
        </p:spPr>
        <p:txBody>
          <a:bodyPr/>
          <a:lstStyle/>
          <a:p>
            <a:pPr lvl="0"/>
            <a:r>
              <a:rPr lang="en-GB" dirty="0"/>
              <a:t>SAT Body text style: use Alt + Shift + Right arrow key to switch to heading, bullet and number options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3201406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2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125739-90A2-490D-9855-D7F9858649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412317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95" imgH="396" progId="TCLayout.ActiveDocument.1">
                  <p:embed/>
                </p:oleObj>
              </mc:Choice>
              <mc:Fallback>
                <p:oleObj name="think-cell Slide" r:id="rId42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125739-90A2-490D-9855-D7F9858649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53C6A3-D2B2-4B1D-8A39-1D2DC241E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3725" y="1476376"/>
            <a:ext cx="9504364" cy="55435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 (SAT Body text)</a:t>
            </a:r>
          </a:p>
          <a:p>
            <a:pPr lvl="1"/>
            <a:r>
              <a:rPr lang="en-GB" dirty="0"/>
              <a:t>Second level (SAT Bullet 1)</a:t>
            </a:r>
          </a:p>
          <a:p>
            <a:pPr lvl="2"/>
            <a:r>
              <a:rPr lang="en-GB" dirty="0"/>
              <a:t>Third level (SAT Bullet 2)</a:t>
            </a:r>
          </a:p>
          <a:p>
            <a:pPr lvl="3"/>
            <a:r>
              <a:rPr lang="en-GB" dirty="0"/>
              <a:t>Fourth level (SAT Bullet number)</a:t>
            </a:r>
          </a:p>
          <a:p>
            <a:pPr lvl="4"/>
            <a:r>
              <a:rPr lang="en-GB" dirty="0"/>
              <a:t>Fifth level (SAT Bullet letter)</a:t>
            </a:r>
          </a:p>
          <a:p>
            <a:pPr lvl="5"/>
            <a:r>
              <a:rPr lang="en-GB" dirty="0"/>
              <a:t>Sixth level (SAT Text heading 1)</a:t>
            </a:r>
          </a:p>
          <a:p>
            <a:pPr lvl="6"/>
            <a:r>
              <a:rPr lang="en-GB" dirty="0"/>
              <a:t>Seventh level (SAT Text heading 2)</a:t>
            </a:r>
          </a:p>
          <a:p>
            <a:pPr lvl="7"/>
            <a:r>
              <a:rPr lang="en-GB" dirty="0"/>
              <a:t>Eighth (SAT Text heading 3)</a:t>
            </a:r>
          </a:p>
          <a:p>
            <a:pPr lvl="8"/>
            <a:r>
              <a:rPr lang="en-GB" dirty="0"/>
              <a:t>Ninth level (SAT Text heading 4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1486D-FF2C-425C-B43A-EFC6BEA90D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93724" y="7272341"/>
            <a:ext cx="7632502" cy="107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04 April 2023 | Version 1.0 (Draft) | Presentationkk |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8D336-E89F-403B-AF0B-7DBF4A7C2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17" y="7272339"/>
            <a:ext cx="1046287" cy="107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">
            <a:extLst>
              <a:ext uri="{FF2B5EF4-FFF2-40B4-BE49-F238E27FC236}">
                <a16:creationId xmlns:a16="http://schemas.microsoft.com/office/drawing/2014/main" id="{8C29C4A1-CE0C-4FD0-B3D5-EFCC21BC8E61}"/>
              </a:ext>
            </a:extLst>
          </p:cNvPr>
          <p:cNvCxnSpPr>
            <a:cxnSpLocks/>
          </p:cNvCxnSpPr>
          <p:nvPr userDrawn="1"/>
        </p:nvCxnSpPr>
        <p:spPr>
          <a:xfrm>
            <a:off x="593725" y="7200900"/>
            <a:ext cx="9504892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157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  <p:sldLayoutId id="2147483652" r:id="rId4"/>
    <p:sldLayoutId id="2147483650" r:id="rId5"/>
    <p:sldLayoutId id="2147483653" r:id="rId6"/>
    <p:sldLayoutId id="2147483654" r:id="rId7"/>
    <p:sldLayoutId id="2147483684" r:id="rId8"/>
    <p:sldLayoutId id="2147483685" r:id="rId9"/>
    <p:sldLayoutId id="2147483686" r:id="rId10"/>
    <p:sldLayoutId id="2147483687" r:id="rId11"/>
    <p:sldLayoutId id="2147483659" r:id="rId12"/>
    <p:sldLayoutId id="2147483662" r:id="rId13"/>
    <p:sldLayoutId id="2147483695" r:id="rId14"/>
    <p:sldLayoutId id="2147483651" r:id="rId15"/>
    <p:sldLayoutId id="2147483655" r:id="rId16"/>
    <p:sldLayoutId id="2147483656" r:id="rId17"/>
    <p:sldLayoutId id="2147483657" r:id="rId18"/>
    <p:sldLayoutId id="2147483658" r:id="rId19"/>
    <p:sldLayoutId id="2147483660" r:id="rId20"/>
    <p:sldLayoutId id="2147483674" r:id="rId21"/>
    <p:sldLayoutId id="2147483682" r:id="rId22"/>
    <p:sldLayoutId id="2147483683" r:id="rId23"/>
    <p:sldLayoutId id="2147483675" r:id="rId24"/>
    <p:sldLayoutId id="2147483678" r:id="rId25"/>
    <p:sldLayoutId id="2147483688" r:id="rId26"/>
    <p:sldLayoutId id="2147483679" r:id="rId27"/>
    <p:sldLayoutId id="2147483689" r:id="rId28"/>
    <p:sldLayoutId id="2147483672" r:id="rId29"/>
    <p:sldLayoutId id="2147483673" r:id="rId30"/>
    <p:sldLayoutId id="2147483670" r:id="rId31"/>
    <p:sldLayoutId id="2147483694" r:id="rId32"/>
    <p:sldLayoutId id="2147483693" r:id="rId33"/>
    <p:sldLayoutId id="2147483681" r:id="rId34"/>
    <p:sldLayoutId id="2147483671" r:id="rId35"/>
    <p:sldLayoutId id="2147483661" r:id="rId36"/>
    <p:sldLayoutId id="2147483690" r:id="rId37"/>
    <p:sldLayoutId id="2147483691" r:id="rId38"/>
    <p:sldLayoutId id="2147483692" r:id="rId39"/>
  </p:sldLayoutIdLst>
  <p:hf hdr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kern="1200">
          <a:solidFill>
            <a:schemeClr val="bg1"/>
          </a:solidFill>
          <a:latin typeface="+mn-lt"/>
          <a:ea typeface="+mn-ea"/>
          <a:cs typeface="+mn-cs"/>
        </a:defRPr>
      </a:lvl1pPr>
      <a:lvl2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+mn-cs"/>
        </a:defRPr>
      </a:lvl2pPr>
      <a:lvl3pPr marL="36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n-lt"/>
          <a:ea typeface="+mn-ea"/>
          <a:cs typeface="+mn-cs"/>
        </a:defRPr>
      </a:lvl3pPr>
      <a:lvl4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+mj-lt"/>
        <a:buAutoNum type="arabi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Font typeface="+mj-lt"/>
        <a:buAutoNum type="alphaU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400" b="0" i="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b="1" i="0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i="0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000" b="0" i="1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" userDrawn="1">
          <p15:clr>
            <a:srgbClr val="A4A3A4"/>
          </p15:clr>
        </p15:guide>
        <p15:guide id="2" pos="374" userDrawn="1">
          <p15:clr>
            <a:srgbClr val="A4A3A4"/>
          </p15:clr>
        </p15:guide>
        <p15:guide id="3" pos="6361" userDrawn="1">
          <p15:clr>
            <a:srgbClr val="A4A3A4"/>
          </p15:clr>
        </p15:guide>
        <p15:guide id="4" orient="horz" pos="317" userDrawn="1">
          <p15:clr>
            <a:srgbClr val="A4A3A4"/>
          </p15:clr>
        </p15:guide>
        <p15:guide id="5" orient="horz" pos="861" userDrawn="1">
          <p15:clr>
            <a:srgbClr val="A4A3A4"/>
          </p15:clr>
        </p15:guide>
        <p15:guide id="7" orient="horz" pos="2676" userDrawn="1">
          <p15:clr>
            <a:srgbClr val="A4A3A4"/>
          </p15:clr>
        </p15:guide>
        <p15:guide id="8" orient="horz" pos="4422" userDrawn="1">
          <p15:clr>
            <a:srgbClr val="A4A3A4"/>
          </p15:clr>
        </p15:guide>
        <p15:guide id="9" orient="horz" pos="4581" userDrawn="1">
          <p15:clr>
            <a:srgbClr val="A4A3A4"/>
          </p15:clr>
        </p15:guide>
        <p15:guide id="11" orient="horz" pos="4649" userDrawn="1">
          <p15:clr>
            <a:srgbClr val="A4A3A4"/>
          </p15:clr>
        </p15:guide>
        <p15:guide id="12" orient="horz" pos="374" userDrawn="1">
          <p15:clr>
            <a:srgbClr val="A4A3A4"/>
          </p15:clr>
        </p15:guide>
        <p15:guide id="13" orient="horz" pos="759" userDrawn="1">
          <p15:clr>
            <a:srgbClr val="A4A3A4"/>
          </p15:clr>
        </p15:guide>
        <p15:guide id="14" pos="805" userDrawn="1">
          <p15:clr>
            <a:srgbClr val="A4A3A4"/>
          </p15:clr>
        </p15:guide>
        <p15:guide id="15" pos="873" userDrawn="1">
          <p15:clr>
            <a:srgbClr val="A4A3A4"/>
          </p15:clr>
        </p15:guide>
        <p15:guide id="16" pos="1314" userDrawn="1">
          <p15:clr>
            <a:srgbClr val="A4A3A4"/>
          </p15:clr>
        </p15:guide>
        <p15:guide id="17" pos="1382" userDrawn="1">
          <p15:clr>
            <a:srgbClr val="A4A3A4"/>
          </p15:clr>
        </p15:guide>
        <p15:guide id="18" pos="1825" userDrawn="1">
          <p15:clr>
            <a:srgbClr val="A4A3A4"/>
          </p15:clr>
        </p15:guide>
        <p15:guide id="19" pos="1893" userDrawn="1">
          <p15:clr>
            <a:srgbClr val="A4A3A4"/>
          </p15:clr>
        </p15:guide>
        <p15:guide id="20" pos="2324" userDrawn="1">
          <p15:clr>
            <a:srgbClr val="A4A3A4"/>
          </p15:clr>
        </p15:guide>
        <p15:guide id="21" pos="2392" userDrawn="1">
          <p15:clr>
            <a:srgbClr val="A4A3A4"/>
          </p15:clr>
        </p15:guide>
        <p15:guide id="22" pos="2823" userDrawn="1">
          <p15:clr>
            <a:srgbClr val="A4A3A4"/>
          </p15:clr>
        </p15:guide>
        <p15:guide id="23" pos="2891" userDrawn="1">
          <p15:clr>
            <a:srgbClr val="A4A3A4"/>
          </p15:clr>
        </p15:guide>
        <p15:guide id="24" pos="3333" userDrawn="1">
          <p15:clr>
            <a:srgbClr val="A4A3A4"/>
          </p15:clr>
        </p15:guide>
        <p15:guide id="25" pos="3401" userDrawn="1">
          <p15:clr>
            <a:srgbClr val="A4A3A4"/>
          </p15:clr>
        </p15:guide>
        <p15:guide id="26" pos="3844" userDrawn="1">
          <p15:clr>
            <a:srgbClr val="A4A3A4"/>
          </p15:clr>
        </p15:guide>
        <p15:guide id="27" pos="3912" userDrawn="1">
          <p15:clr>
            <a:srgbClr val="A4A3A4"/>
          </p15:clr>
        </p15:guide>
        <p15:guide id="28" pos="4343" userDrawn="1">
          <p15:clr>
            <a:srgbClr val="A4A3A4"/>
          </p15:clr>
        </p15:guide>
        <p15:guide id="29" pos="4411" userDrawn="1">
          <p15:clr>
            <a:srgbClr val="A4A3A4"/>
          </p15:clr>
        </p15:guide>
        <p15:guide id="30" pos="4842" userDrawn="1">
          <p15:clr>
            <a:srgbClr val="A4A3A4"/>
          </p15:clr>
        </p15:guide>
        <p15:guide id="31" pos="4910" userDrawn="1">
          <p15:clr>
            <a:srgbClr val="A4A3A4"/>
          </p15:clr>
        </p15:guide>
        <p15:guide id="32" pos="5420" userDrawn="1">
          <p15:clr>
            <a:srgbClr val="A4A3A4"/>
          </p15:clr>
        </p15:guide>
        <p15:guide id="33" pos="5352" userDrawn="1">
          <p15:clr>
            <a:srgbClr val="A4A3A4"/>
          </p15:clr>
        </p15:guide>
        <p15:guide id="34" pos="5862" userDrawn="1">
          <p15:clr>
            <a:srgbClr val="A4A3A4"/>
          </p15:clr>
        </p15:guide>
        <p15:guide id="35" pos="5930" userDrawn="1">
          <p15:clr>
            <a:srgbClr val="A4A3A4"/>
          </p15:clr>
        </p15:guide>
        <p15:guide id="36" orient="horz" pos="93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29686E-D615-4DBA-9EBF-603C36795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661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29686E-D615-4DBA-9EBF-603C36795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3"/>
          <p:cNvSpPr txBox="1">
            <a:spLocks/>
          </p:cNvSpPr>
          <p:nvPr userDrawn="1"/>
        </p:nvSpPr>
        <p:spPr>
          <a:xfrm>
            <a:off x="408457" y="5016447"/>
            <a:ext cx="9559582" cy="214276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all" spc="0" normalizeH="0" baseline="0" noProof="0" dirty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UpSlide Table Of Content Master 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 dirty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edit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 dirty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dele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503FB5-2337-480C-BDAF-26D0E4BEC4A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56" y="1225434"/>
            <a:ext cx="3389277" cy="33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95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80" r:id="rId5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37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5pPr>
      <a:lvl6pPr marL="451565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6pPr>
      <a:lvl7pPr marL="903129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7pPr>
      <a:lvl8pPr marL="1354693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8pPr>
      <a:lvl9pPr marL="1806257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383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383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1846" indent="-261846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11"/>
        </a:buBlip>
        <a:defRPr lang="en-US" sz="1383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0589" indent="-17874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19334" indent="-17874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19334" marR="0" indent="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76822" marR="0" indent="-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55565" indent="-178745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23333" indent="-167769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156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312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469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6257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7821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938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6094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1251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hyperlink" Target="mailto:celgin@aubg.edu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6" Type="http://schemas.openxmlformats.org/officeDocument/2006/relationships/hyperlink" Target="mailto:kbk180@aubg.edu" TargetMode="Externa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slide" Target="slide11.xml"/><Relationship Id="rId3" Type="http://schemas.openxmlformats.org/officeDocument/2006/relationships/tags" Target="../tags/tag77.xml"/><Relationship Id="rId7" Type="http://schemas.openxmlformats.org/officeDocument/2006/relationships/image" Target="../media/image11.emf"/><Relationship Id="rId12" Type="http://schemas.openxmlformats.org/officeDocument/2006/relationships/slide" Target="slide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.emf"/><Relationship Id="rId11" Type="http://schemas.openxmlformats.org/officeDocument/2006/relationships/slide" Target="slide7.xml"/><Relationship Id="rId5" Type="http://schemas.openxmlformats.org/officeDocument/2006/relationships/oleObject" Target="../embeddings/oleObject12.bin"/><Relationship Id="rId10" Type="http://schemas.openxmlformats.org/officeDocument/2006/relationships/slide" Target="slide5.xml"/><Relationship Id="rId4" Type="http://schemas.openxmlformats.org/officeDocument/2006/relationships/slideLayout" Target="../slideLayouts/slideLayout15.xml"/><Relationship Id="rId9" Type="http://schemas.openxmlformats.org/officeDocument/2006/relationships/slide" Target="slide3.xml"/><Relationship Id="rId14" Type="http://schemas.openxmlformats.org/officeDocument/2006/relationships/slide" Target="slide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8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8" Type="http://schemas.openxmlformats.org/officeDocument/2006/relationships/slide" Target="slide5.xml"/><Relationship Id="rId3" Type="http://schemas.openxmlformats.org/officeDocument/2006/relationships/tags" Target="../tags/tag81.xml"/><Relationship Id="rId21" Type="http://schemas.openxmlformats.org/officeDocument/2006/relationships/slide" Target="slide11.xml"/><Relationship Id="rId7" Type="http://schemas.openxmlformats.org/officeDocument/2006/relationships/image" Target="../media/image1.emf"/><Relationship Id="rId17" Type="http://schemas.openxmlformats.org/officeDocument/2006/relationships/slide" Target="slide3.xml"/><Relationship Id="rId2" Type="http://schemas.openxmlformats.org/officeDocument/2006/relationships/tags" Target="../tags/tag80.xml"/><Relationship Id="rId16" Type="http://schemas.openxmlformats.org/officeDocument/2006/relationships/image" Target="../media/image14.emf"/><Relationship Id="rId20" Type="http://schemas.openxmlformats.org/officeDocument/2006/relationships/slide" Target="slide9.xml"/><Relationship Id="rId1" Type="http://schemas.openxmlformats.org/officeDocument/2006/relationships/tags" Target="../tags/tag79.x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2.png"/><Relationship Id="rId19" Type="http://schemas.openxmlformats.org/officeDocument/2006/relationships/slide" Target="slide7.xml"/><Relationship Id="rId4" Type="http://schemas.openxmlformats.org/officeDocument/2006/relationships/tags" Target="../tags/tag82.xml"/><Relationship Id="rId22" Type="http://schemas.openxmlformats.org/officeDocument/2006/relationships/slide" Target="slide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3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oleObject" Target="../embeddings/oleObject16.bin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34" Type="http://schemas.openxmlformats.org/officeDocument/2006/relationships/slide" Target="slide11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slideLayout" Target="../slideLayouts/slideLayout18.xml"/><Relationship Id="rId33" Type="http://schemas.openxmlformats.org/officeDocument/2006/relationships/slide" Target="slide9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chart" Target="../charts/chart4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slide" Target="slide7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chart" Target="../charts/chart3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slide" Target="slide5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image" Target="../media/image1.emf"/><Relationship Id="rId30" Type="http://schemas.openxmlformats.org/officeDocument/2006/relationships/slide" Target="slide3.xml"/><Relationship Id="rId35" Type="http://schemas.openxmlformats.org/officeDocument/2006/relationships/slide" Target="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8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18" Type="http://schemas.openxmlformats.org/officeDocument/2006/relationships/slide" Target="slide7.xml"/><Relationship Id="rId3" Type="http://schemas.openxmlformats.org/officeDocument/2006/relationships/slideLayout" Target="../slideLayouts/slideLayout9.xml"/><Relationship Id="rId21" Type="http://schemas.openxmlformats.org/officeDocument/2006/relationships/slide" Target="slide13.xml"/><Relationship Id="rId7" Type="http://schemas.openxmlformats.org/officeDocument/2006/relationships/image" Target="../media/image16.emf"/><Relationship Id="rId17" Type="http://schemas.openxmlformats.org/officeDocument/2006/relationships/slide" Target="slide5.xml"/><Relationship Id="rId2" Type="http://schemas.openxmlformats.org/officeDocument/2006/relationships/tags" Target="../tags/tag110.xml"/><Relationship Id="rId16" Type="http://schemas.openxmlformats.org/officeDocument/2006/relationships/slide" Target="slide3.xml"/><Relationship Id="rId20" Type="http://schemas.openxmlformats.org/officeDocument/2006/relationships/slide" Target="slide11.xml"/><Relationship Id="rId1" Type="http://schemas.openxmlformats.org/officeDocument/2006/relationships/tags" Target="../tags/tag109.xml"/><Relationship Id="rId6" Type="http://schemas.openxmlformats.org/officeDocument/2006/relationships/image" Target="../media/image15.gif"/><Relationship Id="rId5" Type="http://schemas.openxmlformats.org/officeDocument/2006/relationships/image" Target="../media/image1.emf"/><Relationship Id="rId15" Type="http://schemas.openxmlformats.org/officeDocument/2006/relationships/image" Target="../media/image17.emf"/><Relationship Id="rId19" Type="http://schemas.openxmlformats.org/officeDocument/2006/relationships/slide" Target="slide9.xml"/><Relationship Id="rId4" Type="http://schemas.openxmlformats.org/officeDocument/2006/relationships/oleObject" Target="../embeddings/oleObject18.bin"/><Relationship Id="rId1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1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slide" Target="slide11.xml"/><Relationship Id="rId3" Type="http://schemas.openxmlformats.org/officeDocument/2006/relationships/tags" Target="../tags/tag114.xml"/><Relationship Id="rId7" Type="http://schemas.openxmlformats.org/officeDocument/2006/relationships/image" Target="../media/image18.emf"/><Relationship Id="rId12" Type="http://schemas.openxmlformats.org/officeDocument/2006/relationships/slide" Target="slide9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.emf"/><Relationship Id="rId11" Type="http://schemas.openxmlformats.org/officeDocument/2006/relationships/slide" Target="slide7.xml"/><Relationship Id="rId5" Type="http://schemas.openxmlformats.org/officeDocument/2006/relationships/oleObject" Target="../embeddings/oleObject20.bin"/><Relationship Id="rId10" Type="http://schemas.openxmlformats.org/officeDocument/2006/relationships/slide" Target="slide5.xml"/><Relationship Id="rId4" Type="http://schemas.openxmlformats.org/officeDocument/2006/relationships/slideLayout" Target="../slideLayouts/slideLayout8.xml"/><Relationship Id="rId9" Type="http://schemas.openxmlformats.org/officeDocument/2006/relationships/slide" Target="slide3.xml"/><Relationship Id="rId14" Type="http://schemas.openxmlformats.org/officeDocument/2006/relationships/slide" Target="slide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4.xml"/><Relationship Id="rId7" Type="http://schemas.openxmlformats.org/officeDocument/2006/relationships/slide" Target="slide3.xml"/><Relationship Id="rId12" Type="http://schemas.openxmlformats.org/officeDocument/2006/relationships/slide" Target="slide13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20.emf"/><Relationship Id="rId11" Type="http://schemas.openxmlformats.org/officeDocument/2006/relationships/slide" Target="slide11.xml"/><Relationship Id="rId5" Type="http://schemas.openxmlformats.org/officeDocument/2006/relationships/image" Target="../media/image1.emf"/><Relationship Id="rId10" Type="http://schemas.openxmlformats.org/officeDocument/2006/relationships/slide" Target="slide9.xml"/><Relationship Id="rId4" Type="http://schemas.openxmlformats.org/officeDocument/2006/relationships/oleObject" Target="../embeddings/oleObject21.bin"/><Relationship Id="rId9" Type="http://schemas.openxmlformats.org/officeDocument/2006/relationships/slide" Target="slide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image" Target="../media/image1.emf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oleObject" Target="../embeddings/oleObject4.bin"/><Relationship Id="rId33" Type="http://schemas.openxmlformats.org/officeDocument/2006/relationships/image" Target="../media/image8.png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slide" Target="slide7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slideLayout" Target="../slideLayouts/slideLayout35.xml"/><Relationship Id="rId32" Type="http://schemas.openxmlformats.org/officeDocument/2006/relationships/slide" Target="slide13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slide" Target="slide5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slide" Target="slide1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slide" Target="slide3.xml"/><Relationship Id="rId30" Type="http://schemas.openxmlformats.org/officeDocument/2006/relationships/slide" Target="slide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9.xml"/><Relationship Id="rId7" Type="http://schemas.openxmlformats.org/officeDocument/2006/relationships/slide" Target="slide3.xml"/><Relationship Id="rId12" Type="http://schemas.openxmlformats.org/officeDocument/2006/relationships/slide" Target="slide1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21.png"/><Relationship Id="rId11" Type="http://schemas.openxmlformats.org/officeDocument/2006/relationships/slide" Target="slide11.xml"/><Relationship Id="rId5" Type="http://schemas.openxmlformats.org/officeDocument/2006/relationships/image" Target="../media/image1.emf"/><Relationship Id="rId10" Type="http://schemas.openxmlformats.org/officeDocument/2006/relationships/slide" Target="slide9.xml"/><Relationship Id="rId4" Type="http://schemas.openxmlformats.org/officeDocument/2006/relationships/oleObject" Target="../embeddings/oleObject22.bin"/><Relationship Id="rId9" Type="http://schemas.openxmlformats.org/officeDocument/2006/relationships/slide" Target="slide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4.xml"/><Relationship Id="rId7" Type="http://schemas.openxmlformats.org/officeDocument/2006/relationships/slide" Target="slide3.xml"/><Relationship Id="rId12" Type="http://schemas.openxmlformats.org/officeDocument/2006/relationships/slide" Target="slide13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22.emf"/><Relationship Id="rId11" Type="http://schemas.openxmlformats.org/officeDocument/2006/relationships/slide" Target="slide11.xml"/><Relationship Id="rId5" Type="http://schemas.openxmlformats.org/officeDocument/2006/relationships/image" Target="../media/image1.emf"/><Relationship Id="rId10" Type="http://schemas.openxmlformats.org/officeDocument/2006/relationships/slide" Target="slide9.xml"/><Relationship Id="rId4" Type="http://schemas.openxmlformats.org/officeDocument/2006/relationships/oleObject" Target="../embeddings/oleObject23.bin"/><Relationship Id="rId9" Type="http://schemas.openxmlformats.org/officeDocument/2006/relationships/slide" Target="slide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slide" Target="slide13.xm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12" Type="http://schemas.openxmlformats.org/officeDocument/2006/relationships/slide" Target="slide1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chart" Target="../charts/chart1.xml"/><Relationship Id="rId11" Type="http://schemas.openxmlformats.org/officeDocument/2006/relationships/slide" Target="slide9.xml"/><Relationship Id="rId5" Type="http://schemas.openxmlformats.org/officeDocument/2006/relationships/image" Target="../media/image1.emf"/><Relationship Id="rId10" Type="http://schemas.openxmlformats.org/officeDocument/2006/relationships/slide" Target="slide7.xml"/><Relationship Id="rId4" Type="http://schemas.openxmlformats.org/officeDocument/2006/relationships/oleObject" Target="../embeddings/oleObject6.bin"/><Relationship Id="rId9" Type="http://schemas.openxmlformats.org/officeDocument/2006/relationships/slide" Target="slide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8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slideLayout" Target="../slideLayouts/slideLayout12.xml"/><Relationship Id="rId7" Type="http://schemas.openxmlformats.org/officeDocument/2006/relationships/slide" Target="slide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slide" Target="slide3.xml"/><Relationship Id="rId11" Type="http://schemas.openxmlformats.org/officeDocument/2006/relationships/slide" Target="slide13.xml"/><Relationship Id="rId5" Type="http://schemas.openxmlformats.org/officeDocument/2006/relationships/image" Target="../media/image1.emf"/><Relationship Id="rId10" Type="http://schemas.openxmlformats.org/officeDocument/2006/relationships/slide" Target="slide11.xml"/><Relationship Id="rId4" Type="http://schemas.openxmlformats.org/officeDocument/2006/relationships/oleObject" Target="../embeddings/oleObject8.bin"/><Relationship Id="rId9" Type="http://schemas.openxmlformats.org/officeDocument/2006/relationships/slide" Target="slide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13" Type="http://schemas.openxmlformats.org/officeDocument/2006/relationships/slide" Target="slide13.xml"/><Relationship Id="rId3" Type="http://schemas.openxmlformats.org/officeDocument/2006/relationships/slideLayout" Target="../slideLayouts/slideLayout18.xml"/><Relationship Id="rId7" Type="http://schemas.openxmlformats.org/officeDocument/2006/relationships/chart" Target="../charts/chart2.xml"/><Relationship Id="rId12" Type="http://schemas.openxmlformats.org/officeDocument/2006/relationships/slide" Target="slide1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1.png"/><Relationship Id="rId11" Type="http://schemas.openxmlformats.org/officeDocument/2006/relationships/slide" Target="slide9.xml"/><Relationship Id="rId5" Type="http://schemas.openxmlformats.org/officeDocument/2006/relationships/image" Target="../media/image1.emf"/><Relationship Id="rId10" Type="http://schemas.openxmlformats.org/officeDocument/2006/relationships/slide" Target="slide7.xml"/><Relationship Id="rId4" Type="http://schemas.openxmlformats.org/officeDocument/2006/relationships/oleObject" Target="../embeddings/oleObject10.bin"/><Relationship Id="rId9" Type="http://schemas.openxmlformats.org/officeDocument/2006/relationships/slide" Target="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4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-17591" y="-2"/>
            <a:ext cx="13439422" cy="75596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164306" y="2752406"/>
            <a:ext cx="4267200" cy="205485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algn="ctr">
              <a:lnSpc>
                <a:spcPct val="2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deling the Energy Transition and analyzing its implications; </a:t>
            </a:r>
          </a:p>
          <a:p>
            <a:pPr marL="0" marR="0" algn="ctr">
              <a:lnSpc>
                <a:spcPct val="2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 raw material approach</a:t>
            </a:r>
            <a:endParaRPr lang="en-US" dirty="0">
              <a:solidFill>
                <a:schemeClr val="bg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3FAF3C-4FC4-444D-97F0-B7DC7EEC1B90}"/>
              </a:ext>
            </a:extLst>
          </p:cNvPr>
          <p:cNvSpPr txBox="1"/>
          <p:nvPr/>
        </p:nvSpPr>
        <p:spPr>
          <a:xfrm>
            <a:off x="88106" y="6599237"/>
            <a:ext cx="2526506" cy="107721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1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uthor: Keisi Kapaj </a:t>
            </a:r>
          </a:p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10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visor: Ceyhun Elgin</a:t>
            </a:r>
            <a:endParaRPr kumimoji="0" lang="en-US" sz="1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10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kbk180@aubg.edu</a:t>
            </a:r>
            <a:endParaRPr lang="en-US" sz="1000" dirty="0">
              <a:solidFill>
                <a:srgbClr val="2E2E3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1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celgin@aubg.edu</a:t>
            </a:r>
            <a:endParaRPr lang="en-US" sz="1000" dirty="0">
              <a:solidFill>
                <a:srgbClr val="2E2E3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endParaRPr kumimoji="0" lang="en-US" sz="1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0090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73C7AEC-EF3F-4C11-9077-15E3C5C24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349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73C7AEC-EF3F-4C11-9077-15E3C5C24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F4DEAD-F11E-4BE3-9E3B-0F9A0C63D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844316"/>
            <a:ext cx="9504363" cy="341135"/>
          </a:xfrm>
        </p:spPr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olver </a:t>
            </a:r>
            <a:b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70F304-63DA-4439-8F8A-0EF32B76E3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 algn="just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mplex LP (Linear Programming)</a:t>
            </a:r>
          </a:p>
          <a:p>
            <a:pPr marL="180000" lvl="2" indent="0" algn="just">
              <a:buClr>
                <a:srgbClr val="2E2E38"/>
              </a:buClr>
              <a:buNone/>
            </a:pP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 algn="just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can calculate 200 variables at a time.</a:t>
            </a:r>
          </a:p>
          <a:p>
            <a:pPr marL="180000" lvl="2" indent="0" algn="just">
              <a:buClr>
                <a:srgbClr val="2E2E38"/>
              </a:buClr>
              <a:buNone/>
            </a:pP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 algn="just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y Model consists of 2300 variables hence, it needs to be calculated separately for each typical day</a:t>
            </a:r>
          </a:p>
          <a:p>
            <a:pPr lvl="2">
              <a:buClr>
                <a:srgbClr val="2E2E38"/>
              </a:buClr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729FE9-99BD-40FE-8D2C-18D2B61BC2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 Page </a:t>
            </a:r>
            <a:fld id="{B4B94DC2-E9C9-4818-A9D7-181F2AB896C7}" type="slidenum">
              <a:rPr lang="en-GB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0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300D10-517D-435A-9C88-FCCA743CC7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cel Solver</a:t>
            </a:r>
          </a:p>
          <a:p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58EC07B-C0A4-4888-8657-DC76E06926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ample</a:t>
            </a:r>
          </a:p>
          <a:p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5A784C5-6B62-4D69-9364-EA1C5E3E6F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888" y="4160837"/>
            <a:ext cx="6299199" cy="2859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9F5100D-A7B7-4B8E-AA9E-556B8874D01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4279106" y="1780762"/>
            <a:ext cx="5257800" cy="1871188"/>
          </a:xfrm>
          <a:prstGeom prst="rect">
            <a:avLst/>
          </a:prstGeom>
        </p:spPr>
      </p:pic>
      <p:grpSp>
        <p:nvGrpSpPr>
          <p:cNvPr id="62" name="Group 61">
            <a:extLst>
              <a:ext uri="{FF2B5EF4-FFF2-40B4-BE49-F238E27FC236}">
                <a16:creationId xmlns:a16="http://schemas.microsoft.com/office/drawing/2014/main" id="{6A50ACD9-9947-D428-FD7A-047532E43AA7}"/>
              </a:ext>
            </a:extLst>
          </p:cNvPr>
          <p:cNvGrpSpPr/>
          <p:nvPr/>
        </p:nvGrpSpPr>
        <p:grpSpPr>
          <a:xfrm>
            <a:off x="0" y="0"/>
            <a:ext cx="7014542" cy="501373"/>
            <a:chOff x="0" y="-1587"/>
            <a:chExt cx="7014542" cy="50137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7CEA67C-65F1-ECC2-38FF-3736D4517372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-1587"/>
              <a:ext cx="6137724" cy="501373"/>
              <a:chOff x="594000" y="178371"/>
              <a:chExt cx="5544000" cy="321417"/>
            </a:xfrm>
          </p:grpSpPr>
          <p:sp>
            <p:nvSpPr>
              <p:cNvPr id="65" name="Other Sections1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0067F35-8AE5-89A7-9157-A5AE29EB312E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66" name="Other Sections2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E93D106F-A0D9-F826-2595-2172E60B892C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67" name="Current Section3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94AB90EC-9A71-7C2F-7A4A-1973C870516B}"/>
                  </a:ext>
                </a:extLst>
              </p:cNvPr>
              <p:cNvSpPr txBox="1"/>
              <p:nvPr/>
            </p:nvSpPr>
            <p:spPr>
              <a:xfrm>
                <a:off x="2178000" y="178371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8" name="Other Sections4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46446BCC-32A5-AECB-E2B3-9E2A3ADAE003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9" name="Other Sections5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3CD15D58-F0D9-FB11-5BA3-40456F90C97B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70" name="Other Sections6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C3CFFA50-36E3-0B33-2775-C718D7984F8D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1" name="Other Sections7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0958CF1A-D55C-96D7-3533-CC71B999D506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64" name="Other Sections7">
              <a:hlinkClick r:id="rId14" action="ppaction://hlinksldjump"/>
              <a:extLst>
                <a:ext uri="{FF2B5EF4-FFF2-40B4-BE49-F238E27FC236}">
                  <a16:creationId xmlns:a16="http://schemas.microsoft.com/office/drawing/2014/main" id="{BDFC9C44-4EBF-86F1-4FFB-1F551B765B57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92" name="Date Placeholder 2">
            <a:extLst>
              <a:ext uri="{FF2B5EF4-FFF2-40B4-BE49-F238E27FC236}">
                <a16:creationId xmlns:a16="http://schemas.microsoft.com/office/drawing/2014/main" id="{393BDC1E-3970-6975-F99B-E24053654B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331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20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badi Extra Light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344988" cy="184665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fe-cycle cost &amp; GWP analysis and calculation</a:t>
            </a:r>
            <a:endParaRPr lang="en-GB" sz="4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8121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ED82E8E-5CD1-4DD7-B64B-1DAF3FCB7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05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ED82E8E-5CD1-4DD7-B64B-1DAF3FCB7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E0805C-B19F-4F10-8E91-A55414A6F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Factoring Lifetime and Efficiency on Cost and GWP calculation per technology</a:t>
            </a:r>
            <a:endParaRPr lang="en-US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2F90A1-C906-4C6E-81BE-7AE4811245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0C251DD-D1BE-4ECF-A6F9-5B945E5571B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3798888" y="2030872"/>
            <a:ext cx="6299199" cy="18395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65A5A9F-13A2-44B7-A030-ED0632917515}"/>
                  </a:ext>
                </a:extLst>
              </p:cNvPr>
              <p:cNvSpPr txBox="1"/>
              <p:nvPr/>
            </p:nvSpPr>
            <p:spPr>
              <a:xfrm>
                <a:off x="593724" y="1798637"/>
                <a:ext cx="3075782" cy="542328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80000" marR="0" indent="-18000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  <a:tabLst/>
                </a:pPr>
                <a:r>
                  <a:rPr kumimoji="0" lang="en-US" sz="1400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actoring life-cycle by allocating total cost as a percentage of the </a:t>
                </a:r>
                <a:r>
                  <a:rPr lang="en-US" sz="1400" dirty="0">
                    <a:solidFill>
                      <a:schemeClr val="bg2"/>
                    </a:solidFill>
                    <a:latin typeface="Arial"/>
                  </a:rPr>
                  <a:t>12 typical day interval to the total lifetime. </a:t>
                </a: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arenBoth"/>
                </a:pPr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llocation</a:t>
                </a:r>
                <a:r>
                  <a:rPr lang="en-US" sz="12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en-US" sz="1200" i="1">
                        <a:solidFill>
                          <a:schemeClr val="bg2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12</m:t>
                        </m:r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𝑇𝐷</m:t>
                        </m:r>
                      </m:num>
                      <m:den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365∗</m:t>
                        </m:r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𝑋</m:t>
                        </m:r>
                      </m:den>
                    </m:f>
                    <m:r>
                      <a:rPr lang="en-US" sz="1200" i="1">
                        <a:solidFill>
                          <a:schemeClr val="bg2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× </m:t>
                    </m:r>
                    <m:r>
                      <a:rPr lang="en-US" sz="1200" i="1">
                        <a:solidFill>
                          <a:schemeClr val="bg2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𝛽</m:t>
                    </m:r>
                  </m:oMath>
                </a14:m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Font typeface="Calibri" panose="020F0502020204030204" pitchFamily="34" charset="0"/>
                  <a:buChar char="-"/>
                </a:pPr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12TD stands for 12 typical days</a:t>
                </a:r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Font typeface="Calibri" panose="020F0502020204030204" pitchFamily="34" charset="0"/>
                  <a:buChar char="-"/>
                </a:pPr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X, represents the lifetime in years</a:t>
                </a:r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800"/>
                  </a:spcAft>
                  <a:buFont typeface="Calibri" panose="020F0502020204030204" pitchFamily="34" charset="0"/>
                  <a:buChar char="-"/>
                </a:pPr>
                <a14:m>
                  <m:oMath xmlns:m="http://schemas.openxmlformats.org/officeDocument/2006/math">
                    <m:r>
                      <a:rPr lang="en-US" sz="1200" i="1">
                        <a:solidFill>
                          <a:schemeClr val="bg2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𝛽</m:t>
                    </m:r>
                  </m:oMath>
                </a14:m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 represents either total cost in €M/GW or GWP/GW index</a:t>
                </a:r>
              </a:p>
              <a:p>
                <a:pPr marL="182880" indent="-182880">
                  <a:spcAft>
                    <a:spcPts val="600"/>
                  </a:spcAft>
                  <a:buClr>
                    <a:srgbClr val="2E2E38"/>
                  </a:buClr>
                  <a:buSzPct val="70000"/>
                  <a:buChar char="►"/>
                </a:pPr>
                <a:r>
                  <a:rPr lang="en-US" sz="1400" dirty="0">
                    <a:solidFill>
                      <a:schemeClr val="bg2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Factoring Efficiency by converting the capacity to energy delivered. </a:t>
                </a: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arenBoth"/>
                </a:pPr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β /GWh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𝛽</m:t>
                        </m:r>
                      </m:num>
                      <m:den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𝐶𝑓</m:t>
                        </m:r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∗</m:t>
                        </m:r>
                        <m:r>
                          <a:rPr lang="en-US" sz="12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h</m:t>
                        </m:r>
                      </m:den>
                    </m:f>
                  </m:oMath>
                </a14:m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800"/>
                  </a:spcAft>
                  <a:buFont typeface="Calibri" panose="020F0502020204030204" pitchFamily="34" charset="0"/>
                  <a:buChar char="-"/>
                </a:pPr>
                <a:r>
                  <a:rPr lang="en-US" sz="1200" i="1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In our case, the 12 typical days account for 288 hours, hence, h = 288.</a:t>
                </a:r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spcAft>
                    <a:spcPts val="600"/>
                  </a:spcAft>
                  <a:buClr>
                    <a:srgbClr val="2E2E38"/>
                  </a:buClr>
                  <a:buSzPct val="70000"/>
                </a:pPr>
                <a:endParaRPr lang="en-US" sz="1000" dirty="0">
                  <a:solidFill>
                    <a:schemeClr val="bg2"/>
                  </a:solidFill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180000" marR="0" indent="-18000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  <a:tabLst/>
                </a:pPr>
                <a:endParaRPr kumimoji="0" lang="en-US" sz="1400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65A5A9F-13A2-44B7-A030-ED06329175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724" y="1798637"/>
                <a:ext cx="3075782" cy="5423280"/>
              </a:xfrm>
              <a:prstGeom prst="rect">
                <a:avLst/>
              </a:prstGeom>
              <a:blipFill>
                <a:blip r:embed="rId15"/>
                <a:stretch>
                  <a:fillRect l="-3168" t="-1011" r="-29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" name="Picture 19">
            <a:extLst>
              <a:ext uri="{FF2B5EF4-FFF2-40B4-BE49-F238E27FC236}">
                <a16:creationId xmlns:a16="http://schemas.microsoft.com/office/drawing/2014/main" id="{FA2F5C42-D2E0-4A88-8562-D716B255A9F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3818168" y="4563104"/>
            <a:ext cx="2545700" cy="198120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6162FD0-1027-46DB-B338-17E3C7EFF5BA}"/>
              </a:ext>
            </a:extLst>
          </p:cNvPr>
          <p:cNvSpPr txBox="1"/>
          <p:nvPr/>
        </p:nvSpPr>
        <p:spPr>
          <a:xfrm>
            <a:off x="3818168" y="4295618"/>
            <a:ext cx="3452018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1400" b="1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lculation Results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14AD993-699C-4B60-8054-FB9EA40A3477}"/>
              </a:ext>
            </a:extLst>
          </p:cNvPr>
          <p:cNvSpPr txBox="1"/>
          <p:nvPr/>
        </p:nvSpPr>
        <p:spPr>
          <a:xfrm>
            <a:off x="3798888" y="1752897"/>
            <a:ext cx="3452018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1400" b="1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and GWP per GW Capacit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623F639-471D-8D87-A216-8FC74D3838DA}"/>
              </a:ext>
            </a:extLst>
          </p:cNvPr>
          <p:cNvGrpSpPr/>
          <p:nvPr/>
        </p:nvGrpSpPr>
        <p:grpSpPr>
          <a:xfrm>
            <a:off x="0" y="-22197"/>
            <a:ext cx="7014542" cy="501373"/>
            <a:chOff x="0" y="-1587"/>
            <a:chExt cx="7014542" cy="50137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4E7F3DF-C314-99E9-22F2-8E2786A4404F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0" y="-1587"/>
              <a:ext cx="6137724" cy="501373"/>
              <a:chOff x="594000" y="178371"/>
              <a:chExt cx="5544000" cy="321417"/>
            </a:xfrm>
          </p:grpSpPr>
          <p:sp>
            <p:nvSpPr>
              <p:cNvPr id="9" name="Other Sections1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42218D8B-FEC9-F319-E94C-F321EC3179ED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2" name="Other Sections2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F513149A-3627-76AF-A65D-A62CACBEA85C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3" name="Current Section3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2B16256D-80A1-AA81-079C-CA7FC1BA420E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Other Sections4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id="{B449C6FF-3341-82DA-C178-5A0C914FBB48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5" name="Other Sections5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3D8F9637-5589-287A-7746-7500D0FBFDCC}"/>
                  </a:ext>
                </a:extLst>
              </p:cNvPr>
              <p:cNvSpPr txBox="1"/>
              <p:nvPr/>
            </p:nvSpPr>
            <p:spPr>
              <a:xfrm>
                <a:off x="3761999" y="178371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7" name="Other Sections6">
                <a:hlinkClick r:id="rId22" action="ppaction://hlinksldjump"/>
                <a:extLst>
                  <a:ext uri="{FF2B5EF4-FFF2-40B4-BE49-F238E27FC236}">
                    <a16:creationId xmlns:a16="http://schemas.microsoft.com/office/drawing/2014/main" id="{37ED1727-8B85-616D-FA32-E11ED1E1C8B6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Other Sections7">
                <a:hlinkClick r:id="rId22" action="ppaction://hlinksldjump"/>
                <a:extLst>
                  <a:ext uri="{FF2B5EF4-FFF2-40B4-BE49-F238E27FC236}">
                    <a16:creationId xmlns:a16="http://schemas.microsoft.com/office/drawing/2014/main" id="{0CD00641-EA81-A534-CE1F-CD3B4606B191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8" name="Other Sections7">
              <a:hlinkClick r:id="rId22" action="ppaction://hlinksldjump"/>
              <a:extLst>
                <a:ext uri="{FF2B5EF4-FFF2-40B4-BE49-F238E27FC236}">
                  <a16:creationId xmlns:a16="http://schemas.microsoft.com/office/drawing/2014/main" id="{C10BE05E-AE92-78D3-BA95-89799B83CC6F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Date Placeholder 2">
            <a:extLst>
              <a:ext uri="{FF2B5EF4-FFF2-40B4-BE49-F238E27FC236}">
                <a16:creationId xmlns:a16="http://schemas.microsoft.com/office/drawing/2014/main" id="{D521C721-64BA-0D80-DDAC-0C628AED59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946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20000" dirty="0">
                <a:solidFill>
                  <a:srgbClr val="2E2E38"/>
                </a:solidFill>
                <a:latin typeface="Abadi Extra Light" panose="020B0604020202020204" pitchFamily="34" charset="0"/>
              </a:rPr>
              <a:t>6</a:t>
            </a:r>
            <a:endParaRPr kumimoji="0" lang="en-US" sz="20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badi Extra Light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344988" cy="184665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st and GWP Minimization </a:t>
            </a:r>
            <a:r>
              <a:rPr lang="en-US" sz="4000" b="1" dirty="0">
                <a:solidFill>
                  <a:schemeClr val="bg2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enario Results</a:t>
            </a:r>
            <a:endParaRPr lang="en-US" sz="4000" dirty="0">
              <a:solidFill>
                <a:schemeClr val="bg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9763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5F040B-0A84-49D3-ACD4-D7FE8FBD57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442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5F040B-0A84-49D3-ACD4-D7FE8FBD5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458145-902B-6647-2475-98589DD0D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st and GWP minimization scenario results</a:t>
            </a:r>
            <a:b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GB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7013CC-E694-3202-979C-163DF0BD45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5331AA-AB87-1281-02F9-8BCB8AE860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GWP minimization scenario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F73E1ED-B582-2E9B-8753-F85F971459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Cost minimization scenario</a:t>
            </a:r>
            <a:endParaRPr lang="en-GB" dirty="0"/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832CC5B4-33CC-474E-AE01-722D6FCB364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002524"/>
              </p:ext>
            </p:extLst>
          </p:nvPr>
        </p:nvGraphicFramePr>
        <p:xfrm>
          <a:off x="5894388" y="2063750"/>
          <a:ext cx="3719512" cy="3719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872413" y="2317750"/>
            <a:ext cx="6334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44141F6-D5EA-4185-A0DE-461F14C589BC}" type="datetime'''''''''''''''''''''''''9'''''',0''''''''''''7''''''%'''''''">
              <a:rPr lang="en-US" altLang="en-US" sz="1600" smtClean="0">
                <a:solidFill>
                  <a:schemeClr val="tx1"/>
                </a:solidFill>
              </a:rPr>
              <a:pPr/>
              <a:t>9,07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181975" y="1920875"/>
            <a:ext cx="5191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2ADEC49-35F0-46B8-9E9A-63E3DFF254B9}" type="datetime'''W''''''''''''i''''n''''''d'''' '''''''''''''''''''''">
              <a:rPr lang="en-US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Wind </a:t>
            </a:fld>
            <a:endParaRPr lang="en-US" sz="16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4560B72-2F83-4B4C-878B-5572DD41B6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07100" y="3535363"/>
            <a:ext cx="746125" cy="2444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E62852-6FBF-4EC4-8881-CC13A0800FCA}" type="datetime'''''''''''''''''''''''43'',''92''''''%'''''''">
              <a:rPr lang="en-US" altLang="en-US" sz="1600" smtClean="0">
                <a:solidFill>
                  <a:schemeClr val="tx1"/>
                </a:solidFill>
              </a:rPr>
              <a:pPr/>
              <a:t>43,92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C78B48C-6EA5-411F-BBAD-27C767C420B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623300" y="4440238"/>
            <a:ext cx="746125" cy="244475"/>
          </a:xfrm>
          <a:prstGeom prst="rect">
            <a:avLst/>
          </a:prstGeom>
          <a:solidFill>
            <a:srgbClr val="0BBC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88A1F2-2684-424D-98C4-BB9F9B232CE7}" type="datetime'''''''''''''''''''''''''''''''''''4''''7,''''''''''''''''01%'">
              <a:rPr lang="en-US" altLang="en-US" sz="1600" smtClean="0">
                <a:solidFill>
                  <a:schemeClr val="tx1"/>
                </a:solidFill>
              </a:rPr>
              <a:pPr/>
              <a:t>47,01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7F0A9F4-9021-4891-9B52-239DFB8E1E6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399588" y="4703763"/>
            <a:ext cx="5413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E0C9FF-C96E-4331-B951-106D44522307}" type="datetime'''''''''''H''''y''d''''''''''''''''''''''''''r''o'''''">
              <a:rPr lang="en-US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Hydro</a:t>
            </a:fld>
            <a:endParaRPr lang="en-US" sz="16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C9FA962-9B30-4360-9B90-AADA836D868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21300" y="4481513"/>
            <a:ext cx="6985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D0BCB7-61D1-4EA1-99E6-C0C095C2514C}" type="datetime'N''''''u''cl''''''''e''''a''''''''''''''r'''''''''''''''">
              <a:rPr lang="en-US" altLang="en-US" sz="1600" smtClean="0"/>
              <a:pPr/>
              <a:t>Nuclear</a:t>
            </a:fld>
            <a:endParaRPr lang="en-US" sz="1600" dirty="0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229A486A-49F2-41C0-9542-A2B6CBB1186E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72083770"/>
              </p:ext>
            </p:extLst>
          </p:nvPr>
        </p:nvGraphicFramePr>
        <p:xfrm>
          <a:off x="1082675" y="2063750"/>
          <a:ext cx="3719513" cy="3719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41763" y="3535363"/>
            <a:ext cx="746125" cy="2444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4890599-992E-4775-8647-B2F66E79DBB3}" type="datetime'''''''4''''''3'''''''''''''''''''''''''''',''9''''''2''%'''''">
              <a:rPr lang="en-US" altLang="en-US" sz="1600" smtClean="0">
                <a:solidFill>
                  <a:schemeClr val="tx1"/>
                </a:solidFill>
              </a:rPr>
              <a:pPr/>
              <a:t>43,92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06E31967-1001-4878-90A9-D55D35C1F6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7375" y="3598863"/>
            <a:ext cx="5302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6C09A9F-6A3C-4E18-8063-61CF3F259AC4}" type="datetime'''''S''''o''''''''l''''a''''r'''''''''' '''''''">
              <a:rPr lang="en-US" altLang="en-US" sz="1600" smtClean="0"/>
              <a:pPr/>
              <a:t>Solar </a:t>
            </a:fld>
            <a:endParaRPr lang="en-US" sz="16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43100" y="5148263"/>
            <a:ext cx="7461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09CEBB-C736-4244-8555-8943B202D6AE}" type="datetime'''''''2''''''5'''''''',''''''''''''9''''''4''''''''''%'">
              <a:rPr lang="en-US" altLang="en-US" sz="1600" smtClean="0">
                <a:solidFill>
                  <a:schemeClr val="tx1"/>
                </a:solidFill>
              </a:rPr>
              <a:pPr/>
              <a:t>25,94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49800" y="3432175"/>
            <a:ext cx="6985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ABCC0F7-BCC2-49BA-8BE7-3B5CBDFF41B9}" type="datetime'''''''''''Nu''c''''''''''''''l''''''''e''''a''''''''''r'">
              <a:rPr lang="en-US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Nuclear</a:t>
            </a:fld>
            <a:endParaRPr lang="en-US" sz="16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4222D40D-8E1B-4749-BEE0-52A1233E5D8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36775" y="2343150"/>
            <a:ext cx="633413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7F73AF-FEA2-4129-BA2E-C568A6821DC1}" type="datetime'''''4'''''''''',7''''''''''''''''2''''''''''''''''''''''''%'">
              <a:rPr lang="en-US" altLang="en-US" sz="1600" smtClean="0">
                <a:solidFill>
                  <a:schemeClr val="tx1"/>
                </a:solidFill>
              </a:rPr>
              <a:pPr/>
              <a:t>4,72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93862" y="5586413"/>
            <a:ext cx="5413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081A0F9-F34F-42F4-AD86-A4C1393846A2}" type="datetime'H''''''''''y''d''''''''r''o'''''''''''''''''''''''''">
              <a:rPr lang="en-US" altLang="en-US" sz="1600" smtClean="0"/>
              <a:pPr/>
              <a:t>Hydro</a:t>
            </a:fld>
            <a:endParaRPr lang="en-US" sz="16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6BB28FB1-2B1E-4E0E-BEC1-AF49276BC01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73163" y="3654425"/>
            <a:ext cx="746125" cy="244475"/>
          </a:xfrm>
          <a:prstGeom prst="rect">
            <a:avLst/>
          </a:prstGeom>
          <a:solidFill>
            <a:srgbClr val="FFD20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A3D449-8836-4859-95D7-3323B65CB266}" type="datetime'''''1''''''''''''''''''''''''3,''''''''''''5''2%'''''''''''''">
              <a:rPr lang="en-US" altLang="en-US" sz="1600" smtClean="0"/>
              <a:pPr/>
              <a:t>13,52%</a:t>
            </a:fld>
            <a:endParaRPr lang="en-US" sz="16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5B45718-E824-4A44-8ADA-D0BE0A63E62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16075" y="2732088"/>
            <a:ext cx="6334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B50387-897C-4730-BEF9-2830C9833BD0}" type="datetime'''''''9'''''''''''''',''''''''''''0''7''''''''''%'''''''''">
              <a:rPr lang="en-US" altLang="en-US" sz="1600" smtClean="0">
                <a:solidFill>
                  <a:schemeClr val="tx1"/>
                </a:solidFill>
              </a:rPr>
              <a:pPr/>
              <a:t>9,07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85C3D5F4-73F4-4C7C-9C12-795F15DE2AD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41425" y="2360613"/>
            <a:ext cx="4619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506367-6398-44AB-BDDA-135725DBACBD}" type="datetime'''''''''''W''''''''''in''''''''d'''''''''''''''''''''''''">
              <a:rPr lang="en-US" altLang="en-US" sz="1600" smtClean="0"/>
              <a:pPr/>
              <a:t>Wind</a:t>
            </a:fld>
            <a:endParaRPr lang="en-US" sz="16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6A0A2557-6FE2-4EE7-A590-0B8EB8AF4F3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71738" y="2587625"/>
            <a:ext cx="633413" cy="244475"/>
          </a:xfrm>
          <a:prstGeom prst="rect">
            <a:avLst/>
          </a:prstGeom>
          <a:solidFill>
            <a:srgbClr val="009AD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5C57F9-9312-45F3-9BAB-0586574608C0}" type="datetime'''''1,''''''''''5''''''7''''''''''''''''%'''">
              <a:rPr lang="en-US" altLang="en-US" sz="1600" smtClean="0">
                <a:solidFill>
                  <a:schemeClr val="tx1"/>
                </a:solidFill>
              </a:rPr>
              <a:pPr/>
              <a:t>1,57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AE5A27FE-07B8-4662-96D3-2D5CE04135B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706563" y="2030413"/>
            <a:ext cx="5683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CEBC3EC-3DDA-42E0-B3E5-B06E1183978C}" type="datetime'''''''''''''''''''''W''''as''''t''''''''''''''''''''e'''''''''">
              <a:rPr lang="en-US" altLang="en-US" sz="1600" smtClean="0"/>
              <a:pPr/>
              <a:t>Waste</a:t>
            </a:fld>
            <a:endParaRPr lang="en-US" sz="16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6F220E4-574B-4D3E-B7F0-57CE8E52E5C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100263" y="1785938"/>
            <a:ext cx="7207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37C3901-A0CC-4851-8FDC-1D67D49141AB}" type="datetime'''B''i''''''''''of''''''''''u''''''''''e''''''l''s'''''''">
              <a:rPr lang="en-US" altLang="en-US" sz="1600" smtClean="0"/>
              <a:pPr/>
              <a:t>Biofuels</a:t>
            </a:fld>
            <a:endParaRPr lang="en-US" sz="16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4CBDA4F7-4A7B-4D4B-93E2-1AB496A0963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89213" y="2832100"/>
            <a:ext cx="633413" cy="2444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64B812-5981-48E4-B130-69BCA745C477}" type="datetime'''''''''''''''''''1,''''''''''''''''2''''''''''''''1''%'''''''">
              <a:rPr lang="en-US" altLang="en-US" sz="1600" smtClean="0">
                <a:solidFill>
                  <a:schemeClr val="tx1"/>
                </a:solidFill>
              </a:rPr>
              <a:pPr/>
              <a:t>1,21%</a:t>
            </a:fld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B58BE44-A0BB-427B-8BAD-3C33AF6973B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71788" y="1870075"/>
            <a:ext cx="1084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AC50D9F-C44B-4CF6-A02C-0F6CBC32060D}" type="datetime'''''''Na''''t''''u''r''al ''''''''''''''''''''Ga''''s'''''">
              <a:rPr lang="en-US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Natural Gas</a:t>
            </a:fld>
            <a:endParaRPr lang="en-US" sz="1600" dirty="0"/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2000BDF8-422B-47C9-A5D9-0B120F62E0FD}"/>
              </a:ext>
            </a:extLst>
          </p:cNvPr>
          <p:cNvSpPr txBox="1"/>
          <p:nvPr/>
        </p:nvSpPr>
        <p:spPr>
          <a:xfrm>
            <a:off x="588191" y="6340476"/>
            <a:ext cx="3872943" cy="5078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400" dirty="0">
                <a:solidFill>
                  <a:srgbClr val="2E2E38"/>
                </a:solidFill>
                <a:latin typeface="Arial"/>
              </a:rPr>
              <a:t>Total </a:t>
            </a:r>
            <a:r>
              <a:rPr kumimoji="0" lang="en-US" sz="14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WP: 21.6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400" dirty="0">
                <a:solidFill>
                  <a:srgbClr val="2E2E38"/>
                </a:solidFill>
                <a:latin typeface="Arial"/>
              </a:rPr>
              <a:t>Total Cost: € 45.5 m </a:t>
            </a: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6A47ED9-B7A7-421A-9A2A-E4E812B43F44}"/>
              </a:ext>
            </a:extLst>
          </p:cNvPr>
          <p:cNvSpPr txBox="1"/>
          <p:nvPr/>
        </p:nvSpPr>
        <p:spPr>
          <a:xfrm>
            <a:off x="5399087" y="6340475"/>
            <a:ext cx="3872943" cy="5078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400" dirty="0">
                <a:solidFill>
                  <a:srgbClr val="2E2E38"/>
                </a:solidFill>
                <a:latin typeface="Arial"/>
              </a:rPr>
              <a:t>Total </a:t>
            </a:r>
            <a:r>
              <a:rPr kumimoji="0" lang="en-US" sz="14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WP: 39.7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400" dirty="0">
                <a:solidFill>
                  <a:srgbClr val="2E2E38"/>
                </a:solidFill>
                <a:latin typeface="Arial"/>
              </a:rPr>
              <a:t>Total Cost: € 41.5 m </a:t>
            </a: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8D3A97B-DE1B-23A1-00F6-13EBFD10E471}"/>
              </a:ext>
            </a:extLst>
          </p:cNvPr>
          <p:cNvGrpSpPr/>
          <p:nvPr/>
        </p:nvGrpSpPr>
        <p:grpSpPr>
          <a:xfrm>
            <a:off x="-12065" y="0"/>
            <a:ext cx="7014542" cy="525187"/>
            <a:chOff x="0" y="-1587"/>
            <a:chExt cx="7014542" cy="50137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F5DCAB8-2767-AEA1-E3B3-DBE81C17F073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11" name="Other Sections1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1BFF4B6A-13EE-BD1B-8427-F6F9D6B41460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12" name="Other Sections2">
                <a:hlinkClick r:id="rId31" action="ppaction://hlinksldjump"/>
                <a:extLst>
                  <a:ext uri="{FF2B5EF4-FFF2-40B4-BE49-F238E27FC236}">
                    <a16:creationId xmlns:a16="http://schemas.microsoft.com/office/drawing/2014/main" id="{3D1AC56C-186C-660C-0741-768946A5E738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13" name="Current Section3">
                <a:hlinkClick r:id="rId32" action="ppaction://hlinksldjump"/>
                <a:extLst>
                  <a:ext uri="{FF2B5EF4-FFF2-40B4-BE49-F238E27FC236}">
                    <a16:creationId xmlns:a16="http://schemas.microsoft.com/office/drawing/2014/main" id="{8A4CA2A3-318C-E3E1-08AC-8D2000CF5741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" name="Other Sections4">
                <a:hlinkClick r:id="rId33" action="ppaction://hlinksldjump"/>
                <a:extLst>
                  <a:ext uri="{FF2B5EF4-FFF2-40B4-BE49-F238E27FC236}">
                    <a16:creationId xmlns:a16="http://schemas.microsoft.com/office/drawing/2014/main" id="{C6DD1B0A-F975-A716-FA17-D1D1B7A4427F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" name="Other Sections5">
                <a:hlinkClick r:id="rId34" action="ppaction://hlinksldjump"/>
                <a:extLst>
                  <a:ext uri="{FF2B5EF4-FFF2-40B4-BE49-F238E27FC236}">
                    <a16:creationId xmlns:a16="http://schemas.microsoft.com/office/drawing/2014/main" id="{1D324492-24DB-7257-E422-DDAED2BD463E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6" name="Other Sections6">
                <a:hlinkClick r:id="rId35" action="ppaction://hlinksldjump"/>
                <a:extLst>
                  <a:ext uri="{FF2B5EF4-FFF2-40B4-BE49-F238E27FC236}">
                    <a16:creationId xmlns:a16="http://schemas.microsoft.com/office/drawing/2014/main" id="{CA407AB3-2D1D-F438-524B-B0532EFC142C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Other Sections7">
                <a:hlinkClick r:id="rId35" action="ppaction://hlinksldjump"/>
                <a:extLst>
                  <a:ext uri="{FF2B5EF4-FFF2-40B4-BE49-F238E27FC236}">
                    <a16:creationId xmlns:a16="http://schemas.microsoft.com/office/drawing/2014/main" id="{84690C3B-CD98-B6AE-B5B2-7BB803DC4F22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Other Sections7">
              <a:hlinkClick r:id="rId35" action="ppaction://hlinksldjump"/>
              <a:extLst>
                <a:ext uri="{FF2B5EF4-FFF2-40B4-BE49-F238E27FC236}">
                  <a16:creationId xmlns:a16="http://schemas.microsoft.com/office/drawing/2014/main" id="{96561548-0D9D-5B69-5E1F-C6A194E58106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7" name="Date Placeholder 2">
            <a:extLst>
              <a:ext uri="{FF2B5EF4-FFF2-40B4-BE49-F238E27FC236}">
                <a16:creationId xmlns:a16="http://schemas.microsoft.com/office/drawing/2014/main" id="{762B7D52-8EF9-85B7-FD67-687B65471D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500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20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badi Extra Light" panose="020B0604020202020204" pitchFamily="34" charset="0"/>
              </a:rPr>
              <a:t>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802188" cy="246221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nergy Consumption on the Human Development </a:t>
            </a:r>
            <a:r>
              <a:rPr lang="en-US" sz="4000" b="1" dirty="0">
                <a:solidFill>
                  <a:schemeClr val="bg2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dicators</a:t>
            </a:r>
            <a:endParaRPr lang="en-US" sz="4000" dirty="0">
              <a:solidFill>
                <a:schemeClr val="bg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71128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03345B-8630-498F-A492-502259103B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663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03345B-8630-498F-A492-502259103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F7DF3F-8589-4CEB-903B-351960B69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nergy consumption on the human development indicators</a:t>
            </a:r>
            <a:b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B0B32-4D68-42B5-9F58-3424F70A1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725" y="1476375"/>
            <a:ext cx="3205162" cy="5543550"/>
          </a:xfrm>
        </p:spPr>
        <p:txBody>
          <a:bodyPr/>
          <a:lstStyle/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Energy, EROI and the quality-of-life paper discovers a correlation between life quality indicators and energy consumption. 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H</a:t>
            </a:r>
            <a:r>
              <a:rPr lang="en-US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uman development index (HDI) was developed and calculated by the “United Nations” as part of its development program.</a:t>
            </a:r>
          </a:p>
          <a:p>
            <a:pPr lvl="3">
              <a:lnSpc>
                <a:spcPct val="200000"/>
              </a:lnSpc>
              <a:spcAft>
                <a:spcPts val="0"/>
              </a:spcAft>
              <a:buClr>
                <a:srgbClr val="2E2E38"/>
              </a:buClr>
            </a:pPr>
            <a:r>
              <a:rPr lang="en-US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fe expectancy at birth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3">
              <a:lnSpc>
                <a:spcPct val="200000"/>
              </a:lnSpc>
              <a:spcAft>
                <a:spcPts val="0"/>
              </a:spcAft>
              <a:buClr>
                <a:srgbClr val="2E2E38"/>
              </a:buClr>
            </a:pPr>
            <a:r>
              <a:rPr lang="en-US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pected years of schooling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3">
              <a:lnSpc>
                <a:spcPct val="200000"/>
              </a:lnSpc>
              <a:spcAft>
                <a:spcPts val="0"/>
              </a:spcAft>
              <a:buClr>
                <a:srgbClr val="2E2E38"/>
              </a:buClr>
            </a:pPr>
            <a:r>
              <a:rPr lang="en-US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an years of schooling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3">
              <a:lnSpc>
                <a:spcPct val="200000"/>
              </a:lnSpc>
              <a:spcAft>
                <a:spcPts val="0"/>
              </a:spcAft>
              <a:buClr>
                <a:srgbClr val="2E2E38"/>
              </a:buClr>
            </a:pPr>
            <a:r>
              <a:rPr lang="en-US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ross national income per capita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3F7BC8-AFB8-4EB9-A012-53AF580042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20" name="Content Placeholder 19" descr="Diagram&#10;&#10;Description automatically generated">
            <a:extLst>
              <a:ext uri="{FF2B5EF4-FFF2-40B4-BE49-F238E27FC236}">
                <a16:creationId xmlns:a16="http://schemas.microsoft.com/office/drawing/2014/main" id="{AD092E52-FB7D-45D8-9C97-7AB09A42CC7D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905" y="1476376"/>
            <a:ext cx="2941221" cy="2227262"/>
          </a:xfrm>
        </p:spPr>
      </p:pic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F8B41D2-5C99-4F74-8270-9F680411D866}"/>
              </a:ext>
            </a:extLst>
          </p:cNvPr>
          <p:cNvSpPr txBox="1">
            <a:spLocks/>
          </p:cNvSpPr>
          <p:nvPr/>
        </p:nvSpPr>
        <p:spPr>
          <a:xfrm>
            <a:off x="593724" y="1002991"/>
            <a:ext cx="3095625" cy="327922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HDI Index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1B076FEA-C3C8-47D3-AAFD-149808047CDE}"/>
              </a:ext>
            </a:extLst>
          </p:cNvPr>
          <p:cNvSpPr txBox="1">
            <a:spLocks/>
          </p:cNvSpPr>
          <p:nvPr/>
        </p:nvSpPr>
        <p:spPr>
          <a:xfrm>
            <a:off x="3798887" y="1078913"/>
            <a:ext cx="6299200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Times New Roman" panose="02020603050405020304" pitchFamily="18" charset="0"/>
              </a:rPr>
              <a:t>Instrumental Variable Analysis Results</a:t>
            </a:r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D150EB8-51E8-4349-AE81-6F402A7132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973" y="4837807"/>
            <a:ext cx="3338376" cy="2308534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3BF7890-BC95-49F2-8940-BAC7E1AF5ACE}"/>
                  </a:ext>
                </a:extLst>
              </p:cNvPr>
              <p:cNvSpPr txBox="1"/>
              <p:nvPr/>
            </p:nvSpPr>
            <p:spPr>
              <a:xfrm>
                <a:off x="3852036" y="3658076"/>
                <a:ext cx="6488804" cy="23853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just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𝑙𝑜𝑔</m:t>
                      </m:r>
                      <m:d>
                        <m:dPr>
                          <m:ctrlP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𝐻𝐷𝐼</m:t>
                          </m:r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𝐼𝑛𝑑𝑖𝑐𝑎𝑡𝑜𝑟𝑠</m:t>
                          </m:r>
                        </m:e>
                      </m:d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 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𝛽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0+ 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𝛽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1 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𝑙𝑜𝑔</m:t>
                      </m:r>
                      <m:f>
                        <m:fPr>
                          <m:ctrlP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𝐾</m:t>
                          </m:r>
                          <m:acc>
                            <m:accPr>
                              <m:chr m:val="̂"/>
                              <m:ctrlPr>
                                <a:rPr lang="en-US" sz="1600" i="1">
                                  <a:solidFill>
                                    <a:schemeClr val="bg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>
                                  <a:solidFill>
                                    <a:schemeClr val="bg2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𝑊</m:t>
                              </m:r>
                            </m:e>
                          </m:acc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h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chemeClr val="bg2"/>
                              </a:solidFill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𝑎𝑝𝑖𝑡𝑎</m:t>
                          </m:r>
                        </m:den>
                      </m:f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 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𝛽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𝑘𝑋𝑘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lang="en-US" sz="1600" i="1">
                          <a:solidFill>
                            <a:schemeClr val="bg2"/>
                          </a:solidFill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𝜀</m:t>
                      </m:r>
                    </m:oMath>
                  </m:oMathPara>
                </a14:m>
                <a:endParaRPr lang="en-US" sz="1200" dirty="0">
                  <a:solidFill>
                    <a:schemeClr val="bg2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spcBef>
                    <a:spcPts val="0"/>
                  </a:spcBef>
                  <a:spcAft>
                    <a:spcPts val="800"/>
                  </a:spcAft>
                  <a:buFont typeface="Calibri" panose="020F0502020204030204" pitchFamily="34" charset="0"/>
                  <a:buChar char="-"/>
                </a:pPr>
                <a14:m>
                  <m:oMath xmlns:m="http://schemas.openxmlformats.org/officeDocument/2006/math">
                    <m:f>
                      <m:fPr>
                        <m:ctrlPr>
                          <a:rPr lang="en-US" sz="14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𝐾</m:t>
                        </m:r>
                        <m:acc>
                          <m:accPr>
                            <m:chr m:val="̂"/>
                            <m:ctrlPr>
                              <a:rPr lang="en-US" sz="1400" i="1">
                                <a:solidFill>
                                  <a:schemeClr val="bg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solidFill>
                                  <a:schemeClr val="bg2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𝑊</m:t>
                            </m:r>
                          </m:e>
                        </m:acc>
                        <m:r>
                          <a:rPr lang="en-US" sz="14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h</m:t>
                        </m:r>
                      </m:num>
                      <m:den>
                        <m:r>
                          <a:rPr lang="en-US" sz="1400" i="1">
                            <a:solidFill>
                              <a:schemeClr val="bg2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𝐶𝑎𝑝𝑖𝑡𝑎</m:t>
                        </m:r>
                      </m:den>
                    </m:f>
                  </m:oMath>
                </a14:m>
                <a:r>
                  <a:rPr lang="en-US" sz="14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represents the predicted energy consumption based on the “</a:t>
                </a:r>
                <a:r>
                  <a:rPr lang="en-US" sz="1400" dirty="0" err="1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Temperature_Variation</a:t>
                </a:r>
                <a:r>
                  <a:rPr lang="en-US" sz="14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” instrument</a:t>
                </a:r>
                <a:r>
                  <a:rPr lang="en-US" sz="1400" dirty="0">
                    <a:solidFill>
                      <a:schemeClr val="bg2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</a:p>
              <a:p>
                <a:pPr marL="342900" marR="0" lvl="0" indent="-342900" algn="just">
                  <a:spcBef>
                    <a:spcPts val="0"/>
                  </a:spcBef>
                  <a:spcAft>
                    <a:spcPts val="800"/>
                  </a:spcAft>
                  <a:buFont typeface="Calibri" panose="020F0502020204030204" pitchFamily="34" charset="0"/>
                  <a:buChar char="-"/>
                </a:pPr>
                <a:r>
                  <a:rPr lang="en-US" sz="14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k </a:t>
                </a:r>
                <a:r>
                  <a:rPr lang="en-US" sz="1400" dirty="0">
                    <a:solidFill>
                      <a:schemeClr val="bg2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stands for: National Income, GDP per capita</a:t>
                </a:r>
                <a:endParaRPr lang="en-US" sz="14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marR="0" lvl="0" indent="-342900" algn="just">
                  <a:spcBef>
                    <a:spcPts val="0"/>
                  </a:spcBef>
                  <a:spcAft>
                    <a:spcPts val="800"/>
                  </a:spcAft>
                  <a:buFont typeface="Calibri" panose="020F0502020204030204" pitchFamily="34" charset="0"/>
                  <a:buChar char="-"/>
                </a:pPr>
                <a:endParaRPr lang="en-US" sz="1400" dirty="0">
                  <a:solidFill>
                    <a:schemeClr val="bg2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3BF7890-BC95-49F2-8940-BAC7E1AF5A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036" y="3658076"/>
                <a:ext cx="6488804" cy="2385333"/>
              </a:xfrm>
              <a:prstGeom prst="rect">
                <a:avLst/>
              </a:prstGeom>
              <a:blipFill>
                <a:blip r:embed="rId14"/>
                <a:stretch>
                  <a:fillRect l="-376" r="-2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3" name="Picture 22">
            <a:extLst>
              <a:ext uri="{FF2B5EF4-FFF2-40B4-BE49-F238E27FC236}">
                <a16:creationId xmlns:a16="http://schemas.microsoft.com/office/drawing/2014/main" id="{2DBAB4DE-6BCA-465D-83E0-2575476A4BF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98885" y="6030801"/>
            <a:ext cx="6299201" cy="94710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D139233-4A23-9865-A8C9-3E3E06596649}"/>
              </a:ext>
            </a:extLst>
          </p:cNvPr>
          <p:cNvGrpSpPr/>
          <p:nvPr/>
        </p:nvGrpSpPr>
        <p:grpSpPr>
          <a:xfrm>
            <a:off x="0" y="-893"/>
            <a:ext cx="7014542" cy="501374"/>
            <a:chOff x="0" y="-1587"/>
            <a:chExt cx="7014542" cy="501374"/>
          </a:xfrm>
          <a:solidFill>
            <a:schemeClr val="tx1">
              <a:lumMod val="75000"/>
            </a:schemeClr>
          </a:solidFill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78D275A-5A02-F535-04C5-973A16F0AFA0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  <a:grpFill/>
          </p:grpSpPr>
          <p:sp>
            <p:nvSpPr>
              <p:cNvPr id="24" name="Other Sections1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FF7334B9-CB64-BD6D-2F59-8FA7B02A3195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5" name="Other Sections2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7F39B2D0-D297-A0E1-6BD0-B34B6F21EB2B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6" name="Current Section3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id="{69708B95-C428-EA52-57B9-8D8D9EAE35E6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Other Sections4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2C529AA9-647D-18BF-BEF3-3628BB7CA4B7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8" name="Other Sections5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id="{2259E4FF-3838-F5CF-9B67-F12B5E28FA23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9" name="Other Sections6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98C2AFC3-00D2-5388-C01F-B94A3BD6C421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Other Sections7">
                <a:hlinkClick r:id="rId21" action="ppaction://hlinksldjump"/>
                <a:extLst>
                  <a:ext uri="{FF2B5EF4-FFF2-40B4-BE49-F238E27FC236}">
                    <a16:creationId xmlns:a16="http://schemas.microsoft.com/office/drawing/2014/main" id="{E145165B-93BF-5094-C5F7-3FDF52D3F59B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1" name="Other Sections7">
              <a:hlinkClick r:id="rId21" action="ppaction://hlinksldjump"/>
              <a:extLst>
                <a:ext uri="{FF2B5EF4-FFF2-40B4-BE49-F238E27FC236}">
                  <a16:creationId xmlns:a16="http://schemas.microsoft.com/office/drawing/2014/main" id="{4298FFA8-AF14-0112-F018-73AD7353211A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grpFill/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FF9C8203-0511-E401-2717-A4AADFC22E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238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20000" dirty="0">
                <a:solidFill>
                  <a:srgbClr val="2E2E38"/>
                </a:solidFill>
                <a:latin typeface="Abadi Extra Light" panose="020B0604020202020204" pitchFamily="34" charset="0"/>
              </a:rPr>
              <a:t>8</a:t>
            </a:r>
            <a:endParaRPr kumimoji="0" lang="en-US" sz="20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badi Extra Light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802188" cy="184665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w Material Prices and Production Implications</a:t>
            </a:r>
            <a:endParaRPr lang="en-US" sz="4000" dirty="0">
              <a:solidFill>
                <a:schemeClr val="bg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070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DCA4C4C-0CCA-4639-9F81-BB3EB5DCB5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752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DCA4C4C-0CCA-4639-9F81-BB3EB5DCB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766AD3-959E-4E73-8C40-CF39054BE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54" y="624683"/>
            <a:ext cx="9504363" cy="442912"/>
          </a:xfrm>
        </p:spPr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w Material Prices and Production implications</a:t>
            </a:r>
            <a:b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6DD1A0-52C4-4AC6-96E3-CF6114092C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7D5434-F830-44D8-9EC9-47D43273AFB3}"/>
              </a:ext>
            </a:extLst>
          </p:cNvPr>
          <p:cNvSpPr txBox="1">
            <a:spLocks/>
          </p:cNvSpPr>
          <p:nvPr/>
        </p:nvSpPr>
        <p:spPr>
          <a:xfrm>
            <a:off x="593724" y="1002991"/>
            <a:ext cx="4695032" cy="338446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Raw Materials, Kg/MW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FD200AE-8E17-4752-8A29-DA45054E154D}"/>
              </a:ext>
            </a:extLst>
          </p:cNvPr>
          <p:cNvSpPr txBox="1">
            <a:spLocks/>
          </p:cNvSpPr>
          <p:nvPr/>
        </p:nvSpPr>
        <p:spPr>
          <a:xfrm>
            <a:off x="5367643" y="1033462"/>
            <a:ext cx="4695032" cy="307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bg2"/>
                </a:solidFill>
                <a:latin typeface="Times New Roman" panose="02020603050405020304" pitchFamily="18" charset="0"/>
              </a:rPr>
              <a:t>Possible Shocks</a:t>
            </a:r>
            <a:endParaRPr lang="en-GB" dirty="0">
              <a:solidFill>
                <a:schemeClr val="bg2"/>
              </a:solidFill>
            </a:endParaRPr>
          </a:p>
        </p:txBody>
      </p:sp>
      <p:pic>
        <p:nvPicPr>
          <p:cNvPr id="19" name="Content Placeholder 18" descr="#UpSlideImport#_#2#_#416760605.851858#_#3802416760000.310472#_#C:\Users\DU952LT\OneDrive - EY\Desktop\minerals-used-in-clean-energy-technologies-compared-to-other-power-generation-sources(1).csv#_#DU952LT#_#Raw Materials, Kg/MW  (Chart 2)#_##_#False#_##-#minerals-used-in-clean-energy-t">
            <a:extLst>
              <a:ext uri="{FF2B5EF4-FFF2-40B4-BE49-F238E27FC236}">
                <a16:creationId xmlns:a16="http://schemas.microsoft.com/office/drawing/2014/main" id="{F70B9030-0820-41C4-AD51-A7905A4B7F4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40"/>
          <a:stretch/>
        </p:blipFill>
        <p:spPr bwMode="auto">
          <a:xfrm>
            <a:off x="577554" y="1481113"/>
            <a:ext cx="4610825" cy="2422647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A966DD7-47A8-44FB-B24D-8BD048B2613E}"/>
              </a:ext>
            </a:extLst>
          </p:cNvPr>
          <p:cNvSpPr txBox="1"/>
          <p:nvPr/>
        </p:nvSpPr>
        <p:spPr>
          <a:xfrm>
            <a:off x="5345906" y="1463417"/>
            <a:ext cx="4716769" cy="365337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2880" lvl="1" indent="-182880" algn="just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r>
              <a:rPr lang="en-US" sz="1400" i="1" u="sng" dirty="0">
                <a:solidFill>
                  <a:schemeClr val="bg1"/>
                </a:solidFill>
              </a:rPr>
              <a:t>Positive Demand shock</a:t>
            </a:r>
            <a:r>
              <a:rPr lang="en-US" sz="1400" dirty="0">
                <a:solidFill>
                  <a:schemeClr val="bg1"/>
                </a:solidFill>
              </a:rPr>
              <a:t>, caused by rapid investing in green technologies</a:t>
            </a:r>
          </a:p>
          <a:p>
            <a:pPr marL="0" lvl="1" algn="just">
              <a:spcAft>
                <a:spcPts val="600"/>
              </a:spcAft>
              <a:buClr>
                <a:srgbClr val="2E2E38"/>
              </a:buClr>
              <a:buSzPct val="70000"/>
            </a:pPr>
            <a:endParaRPr lang="en-US" sz="1400" dirty="0">
              <a:solidFill>
                <a:schemeClr val="bg1"/>
              </a:solidFill>
            </a:endParaRPr>
          </a:p>
          <a:p>
            <a:pPr marL="182880" lvl="1" indent="-182880" algn="just">
              <a:spcAft>
                <a:spcPts val="600"/>
              </a:spcAft>
              <a:buClr>
                <a:srgbClr val="2E2E38"/>
              </a:buClr>
              <a:buSzPct val="70000"/>
              <a:buFontTx/>
              <a:buChar char="►"/>
            </a:pPr>
            <a:r>
              <a:rPr lang="en-US" sz="1400" u="sng" dirty="0">
                <a:solidFill>
                  <a:schemeClr val="bg1"/>
                </a:solidFill>
              </a:rPr>
              <a:t>Positive raw materials supply shock</a:t>
            </a:r>
            <a:r>
              <a:rPr lang="en-US" sz="1400" dirty="0">
                <a:solidFill>
                  <a:schemeClr val="bg1"/>
                </a:solidFill>
              </a:rPr>
              <a:t>, caused by countries investing in production and new supply chains. </a:t>
            </a:r>
          </a:p>
          <a:p>
            <a:pPr marL="0" lvl="1" algn="just">
              <a:spcAft>
                <a:spcPts val="600"/>
              </a:spcAft>
              <a:buClr>
                <a:srgbClr val="2E2E38"/>
              </a:buClr>
              <a:buSzPct val="70000"/>
            </a:pPr>
            <a:endParaRPr lang="en-US" sz="1400" dirty="0">
              <a:solidFill>
                <a:schemeClr val="bg1"/>
              </a:solidFill>
            </a:endParaRPr>
          </a:p>
          <a:p>
            <a:pPr marL="182880" lvl="1" indent="-182880" algn="just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r>
              <a:rPr lang="en-US" sz="1400" u="sng" dirty="0">
                <a:solidFill>
                  <a:schemeClr val="bg1"/>
                </a:solidFill>
              </a:rPr>
              <a:t>Positive non-energy industrial shock</a:t>
            </a:r>
            <a:r>
              <a:rPr lang="en-US" sz="1400" dirty="0">
                <a:solidFill>
                  <a:schemeClr val="bg1"/>
                </a:solidFill>
              </a:rPr>
              <a:t>, caused by an expanding business cycle</a:t>
            </a:r>
          </a:p>
          <a:p>
            <a:pPr marL="182880" lvl="1" indent="-182880" algn="just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endParaRPr lang="en-US" sz="1400" dirty="0">
              <a:solidFill>
                <a:schemeClr val="bg1"/>
              </a:solidFill>
            </a:endParaRPr>
          </a:p>
          <a:p>
            <a:pPr marL="182880" lvl="1" indent="-182880" algn="just">
              <a:lnSpc>
                <a:spcPct val="150000"/>
              </a:lnSpc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r>
              <a:rPr lang="en-US" sz="1400" dirty="0">
                <a:solidFill>
                  <a:schemeClr val="bg1"/>
                </a:solidFill>
              </a:rPr>
              <a:t>To understand the implications of the energy transition on raw metals and mineral prices we can build a VAR model to run Impulse Response Functions on each endogenous variable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999FAE-AEB9-467A-9491-DB62C84F3A68}"/>
              </a:ext>
            </a:extLst>
          </p:cNvPr>
          <p:cNvSpPr txBox="1"/>
          <p:nvPr/>
        </p:nvSpPr>
        <p:spPr>
          <a:xfrm>
            <a:off x="577554" y="4177602"/>
            <a:ext cx="4610825" cy="30623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4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 technologies require substantially more raw materials than fossil fuels. </a:t>
            </a:r>
          </a:p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r>
              <a:rPr kumimoji="0" lang="en-US" sz="14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of the raw materials are rare-earth metals and minerals.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defTabSz="1007943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en-US" sz="1400" i="1" u="sng" dirty="0">
                <a:solidFill>
                  <a:srgbClr val="2E2E38"/>
                </a:solidFill>
                <a:latin typeface="Arial"/>
              </a:rPr>
              <a:t>Question: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endParaRPr lang="en-US" sz="1000" dirty="0">
              <a:solidFill>
                <a:srgbClr val="2E2E38"/>
              </a:solidFill>
            </a:endParaRP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Char char="►"/>
            </a:pPr>
            <a:r>
              <a:rPr lang="en-US" sz="1400" dirty="0">
                <a:solidFill>
                  <a:srgbClr val="2E2E38"/>
                </a:solidFill>
              </a:rPr>
              <a:t>How would the rapid investment on the renewable energy technologies affect the metals and mineral prices and production?</a:t>
            </a:r>
          </a:p>
          <a:p>
            <a:pPr defTabSz="1007943">
              <a:spcAft>
                <a:spcPts val="600"/>
              </a:spcAft>
              <a:buClr>
                <a:srgbClr val="2E2E38"/>
              </a:buClr>
              <a:buSzPct val="70000"/>
            </a:pP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462511B-1FAE-4902-82CB-1276D6A13D4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21706" y="5323268"/>
            <a:ext cx="4692553" cy="154598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3D8EE13C-5414-D60B-85B2-3988F1326B59}"/>
              </a:ext>
            </a:extLst>
          </p:cNvPr>
          <p:cNvGrpSpPr/>
          <p:nvPr/>
        </p:nvGrpSpPr>
        <p:grpSpPr>
          <a:xfrm>
            <a:off x="0" y="0"/>
            <a:ext cx="7014542" cy="501374"/>
            <a:chOff x="0" y="-1587"/>
            <a:chExt cx="7014542" cy="501374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9C23E2D-B89A-D015-52FA-0391AD2CE9D8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33" name="Other Sections1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AAEAF4F5-50CF-A20F-0805-74E4BDB03CF7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34" name="Other Sections2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BD9317B7-F440-1EA1-47D2-88666318BDDC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35" name="Current Section3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F8887695-EEA1-86ED-31A4-7D16B1510A24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Other Sections4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0AC74FDC-D5E8-9F6A-D9DA-5304E857B426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7" name="Other Sections5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E367CA19-ED10-12FD-8F78-44848D60124F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8" name="Other Sections6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DCE2DFD8-F904-6184-26F3-B5216D30F5BF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9" name="Other Sections7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E035980E-D984-C3F6-63D9-D874E1262D57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2" name="Other Sections7">
              <a:hlinkClick r:id="rId14" action="ppaction://hlinksldjump"/>
              <a:extLst>
                <a:ext uri="{FF2B5EF4-FFF2-40B4-BE49-F238E27FC236}">
                  <a16:creationId xmlns:a16="http://schemas.microsoft.com/office/drawing/2014/main" id="{6542A56D-F8B8-4E1C-FA4B-F60456B37791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0" name="Date Placeholder 2">
            <a:extLst>
              <a:ext uri="{FF2B5EF4-FFF2-40B4-BE49-F238E27FC236}">
                <a16:creationId xmlns:a16="http://schemas.microsoft.com/office/drawing/2014/main" id="{EEF14AB0-6432-DFD0-A990-C10C466249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3219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0774F8-87D0-438B-886C-4E2C6CBA5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828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0774F8-87D0-438B-886C-4E2C6CBA5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5A721E-179A-4C75-9D2C-87C25C8F7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Metal Selection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01DAEC-D53C-4CF5-A104-A18E39246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9B98A35-74D3-4BDF-9CB7-BE66C7D72434}"/>
              </a:ext>
            </a:extLst>
          </p:cNvPr>
          <p:cNvSpPr txBox="1">
            <a:spLocks/>
          </p:cNvSpPr>
          <p:nvPr/>
        </p:nvSpPr>
        <p:spPr>
          <a:xfrm>
            <a:off x="593724" y="1002991"/>
            <a:ext cx="4695032" cy="338446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Risk Score Index</a:t>
            </a:r>
            <a:endParaRPr lang="en-GB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A96FF44-D4F3-4083-AB9C-19A826CA2B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4" y="1467167"/>
            <a:ext cx="9504363" cy="3663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4A8AE2-2545-42BA-BFD9-759D4613A1E8}"/>
              </a:ext>
            </a:extLst>
          </p:cNvPr>
          <p:cNvSpPr txBox="1"/>
          <p:nvPr/>
        </p:nvSpPr>
        <p:spPr>
          <a:xfrm>
            <a:off x="5345905" y="5309324"/>
            <a:ext cx="4752182" cy="193899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Metal Selection has been made based on risk score and data availability. 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al production and price data provided by “</a:t>
            </a:r>
            <a:r>
              <a:rPr 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ited States Geological Survey</a:t>
            </a:r>
            <a:r>
              <a:rPr lang="en-US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ycling rates provided by “</a:t>
            </a:r>
            <a:r>
              <a:rPr lang="en-US" sz="12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ited Nations Environment Program Report”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</a:pPr>
            <a:r>
              <a:rPr lang="en-US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vernmental Risk score &amp; Growth amount requirements in % provided by “World Bank”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endParaRPr kumimoji="0" lang="en-US" sz="100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99B5CC-CB2B-483F-9F5C-77C3498BD085}"/>
              </a:ext>
            </a:extLst>
          </p:cNvPr>
          <p:cNvSpPr txBox="1"/>
          <p:nvPr/>
        </p:nvSpPr>
        <p:spPr>
          <a:xfrm>
            <a:off x="593724" y="5255958"/>
            <a:ext cx="4523582" cy="138499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osen Metals and Minerals are: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100000"/>
              <a:buAutoNum type="arabicPeriod"/>
            </a:pPr>
            <a:r>
              <a:rPr lang="en-US" sz="1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ium  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100000"/>
              <a:buAutoNum type="arabicPeriod"/>
            </a:pPr>
            <a:r>
              <a:rPr lang="en-US" sz="1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nadium 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100000"/>
              <a:buAutoNum type="arabicPeriod"/>
            </a:pPr>
            <a:r>
              <a:rPr lang="en-US" sz="1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inc</a:t>
            </a:r>
          </a:p>
          <a:p>
            <a:pPr marL="182880" indent="-182880" defTabSz="1007943">
              <a:spcAft>
                <a:spcPts val="600"/>
              </a:spcAft>
              <a:buClr>
                <a:srgbClr val="2E2E38"/>
              </a:buClr>
              <a:buSzPct val="100000"/>
              <a:buAutoNum type="arabicPeriod"/>
            </a:pPr>
            <a:r>
              <a:rPr lang="en-US" sz="14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re Earth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FC6C42D-6C23-F900-F381-128E1BC74DE7}"/>
              </a:ext>
            </a:extLst>
          </p:cNvPr>
          <p:cNvGrpSpPr/>
          <p:nvPr/>
        </p:nvGrpSpPr>
        <p:grpSpPr>
          <a:xfrm>
            <a:off x="0" y="0"/>
            <a:ext cx="7014542" cy="501374"/>
            <a:chOff x="0" y="-1587"/>
            <a:chExt cx="7014542" cy="50137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5E787D8-CD5F-A51C-0FC8-84EF08F4563E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11" name="Other Sections1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3F3EC9F7-9D01-EBF3-5E54-C1831BFA810E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12" name="Other Sections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C476231-8E56-AE72-03C4-82DBD03F5EB0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13" name="Current Section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D780A6EE-B734-04A3-B935-3E77D00A7A76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" name="Other Sections4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3EEA5CC4-0785-891C-5DDC-F373DAC11E67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" name="Other Sections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9DCB7948-B379-B788-0518-8739F1DFBDBA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5" name="Other Sections6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879799A7-E25E-896C-C89C-B0F1DA6C2E45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Other Sections7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A0E0EEE6-7A5F-135B-E97F-E36DF496C1DA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" name="Other Sections7">
              <a:hlinkClick r:id="rId12" action="ppaction://hlinksldjump"/>
              <a:extLst>
                <a:ext uri="{FF2B5EF4-FFF2-40B4-BE49-F238E27FC236}">
                  <a16:creationId xmlns:a16="http://schemas.microsoft.com/office/drawing/2014/main" id="{77D8AC19-694A-10EC-0764-05ADF6096785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8" name="Date Placeholder 2">
            <a:extLst>
              <a:ext uri="{FF2B5EF4-FFF2-40B4-BE49-F238E27FC236}">
                <a16:creationId xmlns:a16="http://schemas.microsoft.com/office/drawing/2014/main" id="{0B1424C3-7443-7DA5-E666-41FB57DAB5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986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A5C6A-20E1-43FD-BE90-DBCFFF4CA1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05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A5C6A-20E1-43FD-BE90-DBCFFF4CA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4C8C8514-B141-4733-8467-3A5604797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E5B4AF-7236-4C46-A297-A6237CDB0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900">
                <a:latin typeface="Times New Roman" panose="02020603050405020304" pitchFamily="18" charset="0"/>
                <a:cs typeface="Times New Roman" panose="02020603050405020304" pitchFamily="18" charset="0"/>
              </a:rPr>
              <a:t>04 April 2023 | Version 1.0 (Draft) | Presentationkk | </a:t>
            </a:r>
            <a:endParaRPr lang="en-GB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B1E2F34-0A50-444A-8F3C-5A3D8D2EA6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ge </a:t>
            </a:r>
            <a:fld id="{B4B94DC2-E9C9-4818-A9D7-181F2AB896C7}" type="slidenum">
              <a:rPr lang="en-GB" sz="9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</a:t>
            </a:fld>
            <a:endParaRPr lang="en-GB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hlinkClick r:id="rId27" action="ppaction://hlinksldjump"/>
            <a:extLst>
              <a:ext uri="{FF2B5EF4-FFF2-40B4-BE49-F238E27FC236}">
                <a16:creationId xmlns:a16="http://schemas.microsoft.com/office/drawing/2014/main" id="{B89B4AEA-C6AC-36CC-E0A8-5A1CC40F6A4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77511" y="1366838"/>
            <a:ext cx="3752106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algn="l"/>
            <a:r>
              <a:rPr lang="en-GB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</p:txBody>
      </p:sp>
      <p:sp>
        <p:nvSpPr>
          <p:cNvPr id="20" name="TextBox 19">
            <a:hlinkClick r:id="rId28" action="ppaction://hlinksldjump"/>
            <a:extLst>
              <a:ext uri="{FF2B5EF4-FFF2-40B4-BE49-F238E27FC236}">
                <a16:creationId xmlns:a16="http://schemas.microsoft.com/office/drawing/2014/main" id="{905C0C50-553A-1F11-9BDC-4B9AA50A44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77511" y="2263736"/>
            <a:ext cx="3603795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terature on Energy models and author contribution. </a:t>
            </a:r>
            <a:r>
              <a:rPr lang="en-US" sz="12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24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hlinkClick r:id="rId29" action="ppaction://hlinksldjump"/>
            <a:extLst>
              <a:ext uri="{FF2B5EF4-FFF2-40B4-BE49-F238E27FC236}">
                <a16:creationId xmlns:a16="http://schemas.microsoft.com/office/drawing/2014/main" id="{BC5B428A-14CE-A900-4BF1-1F0FAC0F58F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477511" y="3160634"/>
            <a:ext cx="3752106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algn="l"/>
            <a:r>
              <a:rPr lang="en-GB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</a:p>
        </p:txBody>
      </p:sp>
      <p:sp>
        <p:nvSpPr>
          <p:cNvPr id="22" name="TextBox 21">
            <a:hlinkClick r:id="rId30" action="ppaction://hlinksldjump"/>
            <a:extLst>
              <a:ext uri="{FF2B5EF4-FFF2-40B4-BE49-F238E27FC236}">
                <a16:creationId xmlns:a16="http://schemas.microsoft.com/office/drawing/2014/main" id="{6B64A709-6B15-7E38-C124-CDE359A8240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77511" y="4057532"/>
            <a:ext cx="3752106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algn="l"/>
            <a:r>
              <a:rPr lang="en-GB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lver</a:t>
            </a:r>
          </a:p>
        </p:txBody>
      </p:sp>
      <p:sp>
        <p:nvSpPr>
          <p:cNvPr id="23" name="TextBox 22">
            <a:hlinkClick r:id="rId31" action="ppaction://hlinksldjump"/>
            <a:extLst>
              <a:ext uri="{FF2B5EF4-FFF2-40B4-BE49-F238E27FC236}">
                <a16:creationId xmlns:a16="http://schemas.microsoft.com/office/drawing/2014/main" id="{EFCBA730-577D-3AAA-4477-BD3D9E7F68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477511" y="4954430"/>
            <a:ext cx="3752106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algn="l"/>
            <a:r>
              <a:rPr lang="en-US" sz="16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fe-cycle cost &amp; GWP analysis and calculation</a:t>
            </a:r>
            <a:endParaRPr lang="en-GB" sz="1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>
            <a:hlinkClick r:id="rId32" action="ppaction://hlinksldjump"/>
            <a:extLst>
              <a:ext uri="{FF2B5EF4-FFF2-40B4-BE49-F238E27FC236}">
                <a16:creationId xmlns:a16="http://schemas.microsoft.com/office/drawing/2014/main" id="{6B4DDE88-2DAE-E70D-5C02-C6E20EC487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477511" y="5851328"/>
            <a:ext cx="3752106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6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st and GWP minimization scenario results</a:t>
            </a:r>
          </a:p>
        </p:txBody>
      </p:sp>
      <p:sp>
        <p:nvSpPr>
          <p:cNvPr id="25" name="TextBox 24">
            <a:hlinkClick r:id="rId32" action="ppaction://hlinksldjump"/>
            <a:extLst>
              <a:ext uri="{FF2B5EF4-FFF2-40B4-BE49-F238E27FC236}">
                <a16:creationId xmlns:a16="http://schemas.microsoft.com/office/drawing/2014/main" id="{DE6A17BC-31EE-329A-09DB-622D68DCC5C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330405" y="1366838"/>
            <a:ext cx="3715107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6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nergy consumption on the Human development indicators</a:t>
            </a:r>
          </a:p>
        </p:txBody>
      </p:sp>
      <p:sp>
        <p:nvSpPr>
          <p:cNvPr id="26" name="TextBox 25">
            <a:hlinkClick r:id="rId27" action="ppaction://hlinksldjump"/>
            <a:extLst>
              <a:ext uri="{FF2B5EF4-FFF2-40B4-BE49-F238E27FC236}">
                <a16:creationId xmlns:a16="http://schemas.microsoft.com/office/drawing/2014/main" id="{45A1EDF4-5156-42D2-0ECD-A6AE9CB51720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auto">
          <a:xfrm>
            <a:off x="593724" y="1366838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GB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hlinkClick r:id="rId28" action="ppaction://hlinksldjump"/>
            <a:extLst>
              <a:ext uri="{FF2B5EF4-FFF2-40B4-BE49-F238E27FC236}">
                <a16:creationId xmlns:a16="http://schemas.microsoft.com/office/drawing/2014/main" id="{3A4AAC2F-9856-D22C-E960-58DAF784C6A8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auto">
          <a:xfrm>
            <a:off x="593724" y="2263736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GB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hlinkClick r:id="rId29" action="ppaction://hlinksldjump"/>
            <a:extLst>
              <a:ext uri="{FF2B5EF4-FFF2-40B4-BE49-F238E27FC236}">
                <a16:creationId xmlns:a16="http://schemas.microsoft.com/office/drawing/2014/main" id="{DFDE3369-5375-049E-5906-2121D03425CF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auto">
          <a:xfrm>
            <a:off x="593724" y="3160634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GB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hlinkClick r:id="rId30" action="ppaction://hlinksldjump"/>
            <a:extLst>
              <a:ext uri="{FF2B5EF4-FFF2-40B4-BE49-F238E27FC236}">
                <a16:creationId xmlns:a16="http://schemas.microsoft.com/office/drawing/2014/main" id="{1DD05593-EE33-FA13-1218-5A0176CC37C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auto">
          <a:xfrm>
            <a:off x="593724" y="4057532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30" name="TextBox 29">
            <a:hlinkClick r:id="rId31" action="ppaction://hlinksldjump"/>
            <a:extLst>
              <a:ext uri="{FF2B5EF4-FFF2-40B4-BE49-F238E27FC236}">
                <a16:creationId xmlns:a16="http://schemas.microsoft.com/office/drawing/2014/main" id="{86B4EC97-C59B-C5E2-F96B-ABD5895D80C8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auto">
          <a:xfrm>
            <a:off x="593724" y="4954430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GB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>
            <a:hlinkClick r:id="rId32" action="ppaction://hlinksldjump"/>
            <a:extLst>
              <a:ext uri="{FF2B5EF4-FFF2-40B4-BE49-F238E27FC236}">
                <a16:creationId xmlns:a16="http://schemas.microsoft.com/office/drawing/2014/main" id="{A9890436-90AB-F0A1-8CE5-C275D2615C5F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auto">
          <a:xfrm>
            <a:off x="593724" y="5851328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en-GB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>
            <a:hlinkClick r:id="rId32" action="ppaction://hlinksldjump"/>
            <a:extLst>
              <a:ext uri="{FF2B5EF4-FFF2-40B4-BE49-F238E27FC236}">
                <a16:creationId xmlns:a16="http://schemas.microsoft.com/office/drawing/2014/main" id="{69E5D1C7-0306-4653-0204-7EF639926B5C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auto">
          <a:xfrm>
            <a:off x="5446618" y="1366838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54" name="TextBox 53">
            <a:hlinkClick r:id="rId27" action="ppaction://hlinksldjump"/>
            <a:extLst>
              <a:ext uri="{FF2B5EF4-FFF2-40B4-BE49-F238E27FC236}">
                <a16:creationId xmlns:a16="http://schemas.microsoft.com/office/drawing/2014/main" id="{CD5DFE22-237E-A08B-58FD-BCCB90ABB040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265617" y="1366838"/>
            <a:ext cx="36000" cy="553998"/>
          </a:xfrm>
          <a:prstGeom prst="rect">
            <a:avLst/>
          </a:prstGeom>
          <a:noFill/>
        </p:spPr>
        <p:txBody>
          <a:bodyPr vert="horz" wrap="none" lIns="0" tIns="0" rIns="108000" bIns="0" rtlCol="0" anchor="ctr">
            <a:noAutofit/>
          </a:bodyPr>
          <a:lstStyle/>
          <a:p>
            <a:pPr algn="r">
              <a:buClr>
                <a:schemeClr val="accent2"/>
              </a:buClr>
              <a:buSzPct val="70000"/>
            </a:pP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xtBox 54">
            <a:hlinkClick r:id="rId28" action="ppaction://hlinksldjump"/>
            <a:extLst>
              <a:ext uri="{FF2B5EF4-FFF2-40B4-BE49-F238E27FC236}">
                <a16:creationId xmlns:a16="http://schemas.microsoft.com/office/drawing/2014/main" id="{1844700F-5C38-0F96-D05A-FB92333230A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265617" y="2263736"/>
            <a:ext cx="36000" cy="553998"/>
          </a:xfrm>
          <a:prstGeom prst="rect">
            <a:avLst/>
          </a:prstGeom>
          <a:noFill/>
        </p:spPr>
        <p:txBody>
          <a:bodyPr vert="horz" wrap="none" lIns="0" tIns="0" rIns="108000" bIns="0" rtlCol="0" anchor="ctr">
            <a:noAutofit/>
          </a:bodyPr>
          <a:lstStyle/>
          <a:p>
            <a:pPr algn="r">
              <a:buClr>
                <a:schemeClr val="accent2"/>
              </a:buClr>
              <a:buSzPct val="70000"/>
            </a:pP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hlinkClick r:id="rId29" action="ppaction://hlinksldjump"/>
            <a:extLst>
              <a:ext uri="{FF2B5EF4-FFF2-40B4-BE49-F238E27FC236}">
                <a16:creationId xmlns:a16="http://schemas.microsoft.com/office/drawing/2014/main" id="{82C386FA-0D0E-F9AA-A988-79359346CA7E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265617" y="3160634"/>
            <a:ext cx="36000" cy="553998"/>
          </a:xfrm>
          <a:prstGeom prst="rect">
            <a:avLst/>
          </a:prstGeom>
          <a:noFill/>
        </p:spPr>
        <p:txBody>
          <a:bodyPr vert="horz" wrap="none" lIns="0" tIns="0" rIns="108000" bIns="0" rtlCol="0" anchor="ctr">
            <a:noAutofit/>
          </a:bodyPr>
          <a:lstStyle/>
          <a:p>
            <a:pPr algn="r">
              <a:buClr>
                <a:schemeClr val="accent2"/>
              </a:buClr>
              <a:buSzPct val="70000"/>
            </a:pP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hlinkClick r:id="rId30" action="ppaction://hlinksldjump"/>
            <a:extLst>
              <a:ext uri="{FF2B5EF4-FFF2-40B4-BE49-F238E27FC236}">
                <a16:creationId xmlns:a16="http://schemas.microsoft.com/office/drawing/2014/main" id="{DFE2AD77-00B9-9778-1FE3-233CC16C68A6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265617" y="4057532"/>
            <a:ext cx="36000" cy="553998"/>
          </a:xfrm>
          <a:prstGeom prst="rect">
            <a:avLst/>
          </a:prstGeom>
          <a:noFill/>
        </p:spPr>
        <p:txBody>
          <a:bodyPr vert="horz" wrap="none" lIns="0" tIns="0" rIns="108000" bIns="0" rtlCol="0" anchor="ctr">
            <a:noAutofit/>
          </a:bodyPr>
          <a:lstStyle/>
          <a:p>
            <a:pPr algn="r">
              <a:buClr>
                <a:schemeClr val="accent2"/>
              </a:buClr>
              <a:buSzPct val="70000"/>
            </a:pP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TextBox 57">
            <a:hlinkClick r:id="rId31" action="ppaction://hlinksldjump"/>
            <a:extLst>
              <a:ext uri="{FF2B5EF4-FFF2-40B4-BE49-F238E27FC236}">
                <a16:creationId xmlns:a16="http://schemas.microsoft.com/office/drawing/2014/main" id="{7F168FE6-387D-0F7C-BE2E-381B10BB1BE3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265617" y="4954430"/>
            <a:ext cx="36000" cy="553998"/>
          </a:xfrm>
          <a:prstGeom prst="rect">
            <a:avLst/>
          </a:prstGeom>
          <a:noFill/>
        </p:spPr>
        <p:txBody>
          <a:bodyPr vert="horz" wrap="none" lIns="0" tIns="0" rIns="108000" bIns="0" rtlCol="0" anchor="ctr">
            <a:noAutofit/>
          </a:bodyPr>
          <a:lstStyle/>
          <a:p>
            <a:pPr algn="r">
              <a:buClr>
                <a:schemeClr val="accent2"/>
              </a:buClr>
              <a:buSzPct val="70000"/>
            </a:pP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Box 32">
            <a:hlinkClick r:id="rId32" action="ppaction://hlinksldjump"/>
            <a:extLst>
              <a:ext uri="{FF2B5EF4-FFF2-40B4-BE49-F238E27FC236}">
                <a16:creationId xmlns:a16="http://schemas.microsoft.com/office/drawing/2014/main" id="{2EE48C50-41D6-4B8B-87A6-5494068F7482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auto">
          <a:xfrm>
            <a:off x="5446618" y="2263736"/>
            <a:ext cx="904914" cy="553998"/>
          </a:xfrm>
          <a:prstGeom prst="rect">
            <a:avLst/>
          </a:prstGeom>
          <a:blipFill>
            <a:blip r:embed="rId3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GB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34" name="TextBox 33">
            <a:hlinkClick r:id="rId32" action="ppaction://hlinksldjump"/>
            <a:extLst>
              <a:ext uri="{FF2B5EF4-FFF2-40B4-BE49-F238E27FC236}">
                <a16:creationId xmlns:a16="http://schemas.microsoft.com/office/drawing/2014/main" id="{72AC99F0-64B5-4BC4-BA2C-FCC7BB89C231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6330404" y="2260298"/>
            <a:ext cx="3715107" cy="553998"/>
          </a:xfrm>
          <a:prstGeom prst="rect">
            <a:avLst/>
          </a:prstGeom>
          <a:noFill/>
        </p:spPr>
        <p:txBody>
          <a:bodyPr vert="horz" wrap="square" lIns="144000" tIns="0" rIns="756000" bIns="0" rtlCol="0" anchor="ctr">
            <a:noAutofit/>
          </a:bodyPr>
          <a:lstStyle/>
          <a:p>
            <a:pPr marR="0" lvl="0"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60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w Material Prices and Production im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65457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465A665-4086-410A-BE96-784A834EB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16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465A665-4086-410A-BE96-784A834EB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63ED6B-2F5F-4008-8762-30751BFEF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Impulse response function results</a:t>
            </a:r>
            <a:endParaRPr lang="en-US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E5A903-CED1-4FF7-A0ED-1C656D0E4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723" y="6507706"/>
            <a:ext cx="7800181" cy="319865"/>
          </a:xfrm>
        </p:spPr>
        <p:txBody>
          <a:bodyPr/>
          <a:lstStyle/>
          <a:p>
            <a:pPr lvl="2" algn="just">
              <a:buClr>
                <a:srgbClr val="2E2E38"/>
              </a:buClr>
            </a:pPr>
            <a:r>
              <a:rPr lang="en-US" sz="1400" dirty="0"/>
              <a:t>Granger Causality testing shows evidence that none of the variables can predict each other. </a:t>
            </a:r>
          </a:p>
          <a:p>
            <a:pPr marL="180000" lvl="2" indent="0" algn="just">
              <a:buClr>
                <a:srgbClr val="2E2E38"/>
              </a:buClr>
              <a:buNone/>
            </a:pPr>
            <a:endParaRPr lang="en-US" sz="1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473567-D31D-4C71-98F7-F3BBD6366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2A2388B-56CC-48A5-9F35-5D4F9E4DF7FE}"/>
              </a:ext>
            </a:extLst>
          </p:cNvPr>
          <p:cNvSpPr txBox="1">
            <a:spLocks/>
          </p:cNvSpPr>
          <p:nvPr/>
        </p:nvSpPr>
        <p:spPr>
          <a:xfrm>
            <a:off x="593723" y="1043549"/>
            <a:ext cx="6299199" cy="262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Graph &amp; Causality Testing</a:t>
            </a:r>
            <a:endParaRPr lang="en-GB" sz="1800" dirty="0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1478EAC6-FC1A-4BF0-8E92-AE177C58DF3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60815" y="1797972"/>
            <a:ext cx="7800181" cy="458277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93F0CC3-5125-499A-819D-81E87284A986}"/>
              </a:ext>
            </a:extLst>
          </p:cNvPr>
          <p:cNvSpPr txBox="1"/>
          <p:nvPr/>
        </p:nvSpPr>
        <p:spPr>
          <a:xfrm>
            <a:off x="593723" y="1471615"/>
            <a:ext cx="4191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16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mpulse Response Functions, Indiu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6398E8A-299D-A459-01D0-DD2EFC98A574}"/>
              </a:ext>
            </a:extLst>
          </p:cNvPr>
          <p:cNvGrpSpPr/>
          <p:nvPr/>
        </p:nvGrpSpPr>
        <p:grpSpPr>
          <a:xfrm>
            <a:off x="0" y="0"/>
            <a:ext cx="7014542" cy="501374"/>
            <a:chOff x="0" y="-1587"/>
            <a:chExt cx="7014542" cy="50137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40EB67D-E3A4-64C1-5F61-6E243E459263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21" name="Other Sections1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BE16CB4B-5ED5-B413-2C6E-AE52EEE6AB1C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2" name="Other Sections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B8B4DB44-8FEF-3B89-5C39-E1D86408476D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3" name="Current Section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0931DC0-008A-5F3A-ACA2-4D119C56C07A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Other Sections4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34AE744D-9351-7D20-DA31-12FD5B3ECEAA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5" name="Other Sections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24DC3DF7-3F5B-3E75-ECFD-89E6CBD3FFF7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Other Sections6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E8D85170-362C-6EC2-5F21-DF1A6A77DCC7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Other Sections7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3D576530-683A-31EE-464E-8E00108BAEFC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0" name="Other Sections7">
              <a:hlinkClick r:id="rId12" action="ppaction://hlinksldjump"/>
              <a:extLst>
                <a:ext uri="{FF2B5EF4-FFF2-40B4-BE49-F238E27FC236}">
                  <a16:creationId xmlns:a16="http://schemas.microsoft.com/office/drawing/2014/main" id="{FEE88173-FF06-7F78-D49C-4985D381DA06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8" name="Date Placeholder 2">
            <a:extLst>
              <a:ext uri="{FF2B5EF4-FFF2-40B4-BE49-F238E27FC236}">
                <a16:creationId xmlns:a16="http://schemas.microsoft.com/office/drawing/2014/main" id="{50F1F0C2-405F-F5D6-F999-2320619DAB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1782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0774F8-87D0-438B-886C-4E2C6CBA5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5457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0774F8-87D0-438B-886C-4E2C6CBA5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5A721E-179A-4C75-9D2C-87C25C8F7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338446"/>
          </a:xfrm>
        </p:spPr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Impulse response function results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01DAEC-D53C-4CF5-A104-A18E39246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9B98A35-74D3-4BDF-9CB7-BE66C7D72434}"/>
              </a:ext>
            </a:extLst>
          </p:cNvPr>
          <p:cNvSpPr txBox="1">
            <a:spLocks/>
          </p:cNvSpPr>
          <p:nvPr/>
        </p:nvSpPr>
        <p:spPr>
          <a:xfrm>
            <a:off x="593724" y="1002991"/>
            <a:ext cx="4695032" cy="338446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Price Elasticity of Supply</a:t>
            </a:r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F590B42-F6A3-4A93-88AF-1B61A70208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3724" y="1517856"/>
            <a:ext cx="9504363" cy="265846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A217A7-68BE-451E-9AEF-A57A5296EB60}"/>
              </a:ext>
            </a:extLst>
          </p:cNvPr>
          <p:cNvSpPr txBox="1"/>
          <p:nvPr/>
        </p:nvSpPr>
        <p:spPr>
          <a:xfrm>
            <a:off x="593724" y="4602553"/>
            <a:ext cx="9504363" cy="80021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4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The responses of price on price show a slight decrease from the initial shock in period 1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400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</a:t>
            </a:r>
            <a:r>
              <a:rPr lang="en-US" sz="14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roduction, it raises only by a small portion to the one unit increase in price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endParaRPr kumimoji="0" lang="en-US" sz="140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C1648E2-9EA0-0A13-51FA-75ACEAC69DCB}"/>
              </a:ext>
            </a:extLst>
          </p:cNvPr>
          <p:cNvGrpSpPr/>
          <p:nvPr/>
        </p:nvGrpSpPr>
        <p:grpSpPr>
          <a:xfrm>
            <a:off x="0" y="0"/>
            <a:ext cx="7014542" cy="501374"/>
            <a:chOff x="0" y="-1587"/>
            <a:chExt cx="7014542" cy="50137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7E77426-9897-EA76-0A96-32EFEE85359B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10" name="Other Sections1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9CC769E3-5D3A-185A-4A19-C88C49A5B7E9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11" name="Other Sections2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6FAD50C6-7780-7FFC-BD32-704329519D4C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12" name="Current Section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63CDE17A-A832-5EB0-BF63-F27D3062FFA1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Other Sections4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85CC29E5-6A92-0986-0E0E-D4E7959739F5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4" name="Other Sections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197EDA69-FE15-7A5F-0F76-FBEE5A39E18A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5" name="Other Sections6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26964C78-C1A3-4E68-FD04-CE771210B807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" name="Other Sections7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10C36014-2916-0461-3A43-DA745775B41C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Other Sections7">
              <a:hlinkClick r:id="rId12" action="ppaction://hlinksldjump"/>
              <a:extLst>
                <a:ext uri="{FF2B5EF4-FFF2-40B4-BE49-F238E27FC236}">
                  <a16:creationId xmlns:a16="http://schemas.microsoft.com/office/drawing/2014/main" id="{75320F43-AA51-6F04-D85A-F4854306FDCF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7" name="Date Placeholder 2">
            <a:extLst>
              <a:ext uri="{FF2B5EF4-FFF2-40B4-BE49-F238E27FC236}">
                <a16:creationId xmlns:a16="http://schemas.microsoft.com/office/drawing/2014/main" id="{88B95842-4881-A783-981D-81A74805D3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276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D6BB24-85D4-4EB8-82A5-2233AB9BB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088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D6BB24-85D4-4EB8-82A5-2233AB9BB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EB8722-41B2-481F-839C-2C67DD67B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241" y="3779837"/>
            <a:ext cx="9504363" cy="611188"/>
          </a:xfrm>
        </p:spPr>
        <p:txBody>
          <a:bodyPr vert="horz"/>
          <a:lstStyle/>
          <a:p>
            <a:r>
              <a:rPr lang="en-US" sz="36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309651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20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badi Extra Light" panose="020B0604020202020204" pitchFamily="34" charset="0"/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3048000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4000" dirty="0">
                <a:solidFill>
                  <a:srgbClr val="2E2E38"/>
                </a:solidFill>
                <a:latin typeface="Abadi Extra Light" panose="020B0204020104020204" pitchFamily="34" charset="0"/>
              </a:rPr>
              <a:t>Introduction</a:t>
            </a:r>
            <a:endParaRPr kumimoji="0" lang="en-US" sz="4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badi Extra 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756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2217EC38-7681-4B76-BC7C-7FAA292687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2679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2217EC38-7681-4B76-BC7C-7FAA29268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F8E4B20-E264-B8B7-1100-141ED5818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s of 2021, 44 countries and the European Union have pledged to net-zero-by-2050 policies. Altogether accounting for 70% of the total global emissions.</a:t>
            </a:r>
            <a:endParaRPr lang="en-GB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D5500A-C5A5-4D9C-BB2B-7117C6E0AF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84E5D-0782-481B-A625-BCAE6A0081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ge </a:t>
            </a:r>
            <a:fld id="{B4B94DC2-E9C9-4818-A9D7-181F2AB896C7}" type="slidenum">
              <a:rPr lang="en-GB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4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8B96FB-AA0C-166D-476F-A06A2B1003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sis Proposal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CAF6A42-202D-DF27-D983-C8B93083E7A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89756" y="5077543"/>
            <a:ext cx="4699001" cy="1683165"/>
          </a:xfrm>
        </p:spPr>
        <p:txBody>
          <a:bodyPr/>
          <a:lstStyle/>
          <a:p>
            <a:pPr lvl="2" algn="just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4 countries and the EU have pledged the net-zero-by-2050</a:t>
            </a:r>
          </a:p>
          <a:p>
            <a:pPr lvl="2" algn="just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8% of the worlds electricity will be meet by renewable electricity energy</a:t>
            </a:r>
          </a:p>
          <a:p>
            <a:pPr lvl="2" algn="just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ar and Wind alone will meet 70% of the demand by 2050</a:t>
            </a:r>
          </a:p>
          <a:p>
            <a:pPr lvl="2" algn="just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als and minerals will become the new oil during the transition which can be a risk facto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3CF444-3997-1F6A-BA6D-146CF32DC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edges &amp; Risks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12D137EA-AFFE-4AE6-9AB9-36CF2A7FF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 algn="just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ilding an energy model system in order to minimize the life-cycle, cost or pollution of the electric energy supply. The model serves as a benchmark for the real cost and pollution of each technology.</a:t>
            </a:r>
          </a:p>
          <a:p>
            <a:pPr lvl="2" algn="just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a second part of my thesis, I would analyze the implications of the results obtained from each minimization scenario. </a:t>
            </a:r>
          </a:p>
          <a:p>
            <a:pPr marL="180000" lvl="2" indent="0">
              <a:buClr>
                <a:srgbClr val="2E2E38"/>
              </a:buClr>
              <a:buNone/>
            </a:pP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84532E4F-EF3D-4470-8D36-6AB87D219E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5381529"/>
              </p:ext>
            </p:extLst>
          </p:nvPr>
        </p:nvGraphicFramePr>
        <p:xfrm>
          <a:off x="610546" y="1770061"/>
          <a:ext cx="4678211" cy="3152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9" name="Picture 18" descr="A picture containing text, ground, outdoor, nature&#10;&#10;Description automatically generated">
            <a:extLst>
              <a:ext uri="{FF2B5EF4-FFF2-40B4-BE49-F238E27FC236}">
                <a16:creationId xmlns:a16="http://schemas.microsoft.com/office/drawing/2014/main" id="{9CF22F08-B722-429A-97B6-AF006D5C101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" t="16327" r="25608" b="17737"/>
          <a:stretch/>
        </p:blipFill>
        <p:spPr>
          <a:xfrm>
            <a:off x="5498306" y="4197552"/>
            <a:ext cx="4614145" cy="281187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503CF29-8D45-8BDF-681D-98F1FD3B72CE}"/>
              </a:ext>
            </a:extLst>
          </p:cNvPr>
          <p:cNvGrpSpPr/>
          <p:nvPr/>
        </p:nvGrpSpPr>
        <p:grpSpPr>
          <a:xfrm>
            <a:off x="0" y="-1587"/>
            <a:ext cx="7014542" cy="501374"/>
            <a:chOff x="0" y="-1587"/>
            <a:chExt cx="7014542" cy="50137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CE506CD-DA3A-D12B-F12C-E2E7A8601847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20" name="Other Sections1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8855A8DE-9A1A-8496-A79F-0E5B380C9186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1" name="Other Sections2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1E295043-5E0D-EFD8-0CDC-AD7991A88F41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3" name="Current Section3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D6E3ED8B-FA0B-4B21-39E2-76B5EE0549B4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" name="Other Sections4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B69748C6-6FF2-5156-5057-5FB9C10E144A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7" name="Other Sections5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5D7B5EFF-E471-6253-B019-C6A84FC15E2B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8" name="Other Sections6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74CBB9FF-D608-E335-28D9-C20E5A7E4E21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Other Sections7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64420F3F-0338-B6CD-4B5E-D242EF3413C6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8" name="Other Sections7">
              <a:hlinkClick r:id="rId13" action="ppaction://hlinksldjump"/>
              <a:extLst>
                <a:ext uri="{FF2B5EF4-FFF2-40B4-BE49-F238E27FC236}">
                  <a16:creationId xmlns:a16="http://schemas.microsoft.com/office/drawing/2014/main" id="{68E6BADD-11E6-13FE-7DF7-EA40E2A707BE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4902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20000" dirty="0">
                <a:solidFill>
                  <a:srgbClr val="2E2E38"/>
                </a:solidFill>
                <a:latin typeface="Abadi Extra Light" panose="020B0604020202020204" pitchFamily="34" charset="0"/>
              </a:rPr>
              <a:t>2</a:t>
            </a:r>
            <a:endParaRPr kumimoji="0" lang="en-US" sz="20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badi Extra Light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344988" cy="246221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terature on Energy models and author contribution.  </a:t>
            </a:r>
            <a:endParaRPr lang="en-GB" sz="6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409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2749752-4AA6-4562-86D2-3A256AC1C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682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2749752-4AA6-4562-86D2-3A256AC1C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DE02BD-98D4-48B8-83DE-A05FA4ABE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86" y="527215"/>
            <a:ext cx="9858376" cy="216238"/>
          </a:xfrm>
        </p:spPr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ergy Models two main categories: bottom-up and top-down approaches: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13490C-BE30-4178-AEB2-5B99B943CA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 Page </a:t>
            </a:r>
            <a:fld id="{B4B94DC2-E9C9-4818-A9D7-181F2AB896C7}" type="slidenum">
              <a:rPr lang="en-GB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6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B7DEE1-00EA-4D2B-BFA2-A99E63EE4BC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92887" y="1476375"/>
            <a:ext cx="2205202" cy="1810078"/>
          </a:xfrm>
        </p:spPr>
        <p:txBody>
          <a:bodyPr/>
          <a:lstStyle/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-level overview of the energy system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udies interactions with the economy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lies on about the behavior of the economy 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ergy prices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ical progress   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9532D8AE-76F2-4497-B98E-AE9291A1E230}"/>
              </a:ext>
            </a:extLst>
          </p:cNvPr>
          <p:cNvSpPr txBox="1">
            <a:spLocks/>
          </p:cNvSpPr>
          <p:nvPr/>
        </p:nvSpPr>
        <p:spPr>
          <a:xfrm>
            <a:off x="575364" y="1014367"/>
            <a:ext cx="2636941" cy="282873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ttom-Up Approach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259DFB9-4CCC-4235-9B18-8F7193A267A5}"/>
              </a:ext>
            </a:extLst>
          </p:cNvPr>
          <p:cNvSpPr txBox="1">
            <a:spLocks/>
          </p:cNvSpPr>
          <p:nvPr/>
        </p:nvSpPr>
        <p:spPr>
          <a:xfrm>
            <a:off x="7754972" y="1008318"/>
            <a:ext cx="2205202" cy="360850"/>
          </a:xfrm>
          <a:prstGeom prst="rect">
            <a:avLst/>
          </a:prstGeom>
        </p:spPr>
        <p:txBody>
          <a:bodyPr/>
          <a:lstStyle>
            <a:lvl1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4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100794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000" b="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p-Down Approach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07CDC23-6372-404C-B1A4-D92D00970646}"/>
              </a:ext>
            </a:extLst>
          </p:cNvPr>
          <p:cNvSpPr/>
          <p:nvPr/>
        </p:nvSpPr>
        <p:spPr>
          <a:xfrm>
            <a:off x="4144921" y="3054227"/>
            <a:ext cx="4629985" cy="395359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6A39FBB-8752-40C2-8D9D-D62CB215B7B4}"/>
              </a:ext>
            </a:extLst>
          </p:cNvPr>
          <p:cNvGrpSpPr/>
          <p:nvPr/>
        </p:nvGrpSpPr>
        <p:grpSpPr>
          <a:xfrm>
            <a:off x="4714775" y="4203307"/>
            <a:ext cx="3450531" cy="2815067"/>
            <a:chOff x="4409975" y="4153373"/>
            <a:chExt cx="3450531" cy="2815067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3D1BF55-A156-4F0C-AA99-EA9586A22DC1}"/>
                </a:ext>
              </a:extLst>
            </p:cNvPr>
            <p:cNvCxnSpPr>
              <a:cxnSpLocks/>
            </p:cNvCxnSpPr>
            <p:nvPr/>
          </p:nvCxnSpPr>
          <p:spPr>
            <a:xfrm>
              <a:off x="4409975" y="5989637"/>
              <a:ext cx="3450531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733AEFD-580B-4B97-AF64-0E0F248FBAC1}"/>
                </a:ext>
              </a:extLst>
            </p:cNvPr>
            <p:cNvGrpSpPr/>
            <p:nvPr/>
          </p:nvGrpSpPr>
          <p:grpSpPr>
            <a:xfrm>
              <a:off x="5171975" y="4153373"/>
              <a:ext cx="1915765" cy="1604088"/>
              <a:chOff x="5171975" y="4153373"/>
              <a:chExt cx="1915765" cy="1604088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84E2471F-9E35-4F28-B8E4-12C343927D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71975" y="4720503"/>
                <a:ext cx="191576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9656C1E-C77F-419F-907C-4B2CEDBA8F32}"/>
                  </a:ext>
                </a:extLst>
              </p:cNvPr>
              <p:cNvSpPr txBox="1"/>
              <p:nvPr/>
            </p:nvSpPr>
            <p:spPr>
              <a:xfrm>
                <a:off x="5476777" y="4153373"/>
                <a:ext cx="1323821" cy="36933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80000" indent="-180000" defTabSz="1007943"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</a:pPr>
                <a:r>
                  <a:rPr kumimoji="0" lang="en-US" sz="1200" strike="noStrike" kern="120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d-Use Energy Delivered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8D942BB-280A-4623-B36A-774E8BECAD56}"/>
                  </a:ext>
                </a:extLst>
              </p:cNvPr>
              <p:cNvSpPr txBox="1"/>
              <p:nvPr/>
            </p:nvSpPr>
            <p:spPr>
              <a:xfrm>
                <a:off x="5372216" y="5049575"/>
                <a:ext cx="1508953" cy="707886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80000" marR="0" indent="-18000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  <a:tabLst/>
                </a:pPr>
                <a:r>
                  <a:rPr kumimoji="0" lang="en-US" sz="1200" strike="noStrike" kern="120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ectricity Sector </a:t>
                </a:r>
              </a:p>
              <a:p>
                <a:pPr marL="180000" marR="0" indent="-18000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  <a:tabLst/>
                </a:pPr>
                <a:r>
                  <a:rPr lang="en-US" sz="1200" dirty="0">
                    <a:solidFill>
                      <a:srgbClr val="2E2E3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nsport Sector </a:t>
                </a:r>
              </a:p>
              <a:p>
                <a:pPr marL="180000" marR="0" indent="-18000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2E2E38"/>
                  </a:buClr>
                  <a:buSzPct val="70000"/>
                  <a:buFont typeface="Arial" panose="020B0604020202020204" pitchFamily="34" charset="0"/>
                  <a:buChar char="►"/>
                  <a:tabLst/>
                </a:pPr>
                <a:r>
                  <a:rPr kumimoji="0" lang="en-US" sz="1200" strike="noStrike" kern="1200" cap="none" spc="0" normalizeH="0" baseline="0" noProof="0" dirty="0" err="1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tc</a:t>
                </a:r>
                <a:endParaRPr kumimoji="0" lang="en-US" sz="1200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D843C9B-8ED5-46F9-9DCA-DA464AD4F8C6}"/>
                </a:ext>
              </a:extLst>
            </p:cNvPr>
            <p:cNvSpPr txBox="1"/>
            <p:nvPr/>
          </p:nvSpPr>
          <p:spPr>
            <a:xfrm>
              <a:off x="4409975" y="5998944"/>
              <a:ext cx="1600199" cy="96949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180000" marR="0" indent="-180000" algn="l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E2E38"/>
                </a:buClr>
                <a:buSzPct val="70000"/>
                <a:buFont typeface="Arial" panose="020B0604020202020204" pitchFamily="34" charset="0"/>
                <a:buChar char="►"/>
                <a:tabLst/>
              </a:pPr>
              <a:r>
                <a:rPr lang="en-US" sz="1200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ergy Technology</a:t>
              </a:r>
            </a:p>
            <a:p>
              <a:pPr marL="182880" indent="-182880" defTabSz="1007943">
                <a:spcAft>
                  <a:spcPts val="600"/>
                </a:spcAft>
                <a:buClr>
                  <a:srgbClr val="2E2E38"/>
                </a:buClr>
                <a:buSzPct val="70000"/>
                <a:buChar char="►"/>
              </a:pPr>
              <a:r>
                <a:rPr lang="en-US" sz="1200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ment Cost</a:t>
              </a:r>
            </a:p>
            <a:p>
              <a:pPr marL="182880" indent="-182880" defTabSz="1007943">
                <a:spcAft>
                  <a:spcPts val="600"/>
                </a:spcAft>
                <a:buClr>
                  <a:srgbClr val="2E2E38"/>
                </a:buClr>
                <a:buSzPct val="70000"/>
                <a:buChar char="►"/>
              </a:pPr>
              <a:r>
                <a:rPr lang="en-US" sz="1200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perating Cost</a:t>
              </a:r>
            </a:p>
            <a:p>
              <a:pPr marL="182880" indent="-182880" defTabSz="1007943">
                <a:spcAft>
                  <a:spcPts val="600"/>
                </a:spcAft>
                <a:buClr>
                  <a:srgbClr val="2E2E38"/>
                </a:buClr>
                <a:buSzPct val="70000"/>
                <a:buChar char="►"/>
              </a:pPr>
              <a:r>
                <a:rPr lang="en-US" sz="1200" dirty="0">
                  <a:solidFill>
                    <a:srgbClr val="2E2E3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perating Efficiency</a:t>
              </a:r>
            </a:p>
          </p:txBody>
        </p:sp>
      </p:grp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6DEE2AFE-F3A3-4A1E-AC55-293E1E40A815}"/>
              </a:ext>
            </a:extLst>
          </p:cNvPr>
          <p:cNvSpPr/>
          <p:nvPr/>
        </p:nvSpPr>
        <p:spPr>
          <a:xfrm rot="10800000">
            <a:off x="2544721" y="1493837"/>
            <a:ext cx="4629985" cy="395359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CD6DC9-EDA6-42D3-9053-461ECAC1F866}"/>
              </a:ext>
            </a:extLst>
          </p:cNvPr>
          <p:cNvGrpSpPr/>
          <p:nvPr/>
        </p:nvGrpSpPr>
        <p:grpSpPr>
          <a:xfrm rot="10800000">
            <a:off x="3114575" y="2484437"/>
            <a:ext cx="3450531" cy="1295400"/>
            <a:chOff x="4409975" y="4694237"/>
            <a:chExt cx="3450531" cy="129540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61A790D-ED11-41FE-B405-EC0E0E508B8B}"/>
                </a:ext>
              </a:extLst>
            </p:cNvPr>
            <p:cNvCxnSpPr>
              <a:cxnSpLocks/>
            </p:cNvCxnSpPr>
            <p:nvPr/>
          </p:nvCxnSpPr>
          <p:spPr>
            <a:xfrm>
              <a:off x="4409975" y="5989637"/>
              <a:ext cx="3450531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4E55C31-B5CB-4039-9A0F-6FD44381CD42}"/>
                </a:ext>
              </a:extLst>
            </p:cNvPr>
            <p:cNvCxnSpPr>
              <a:cxnSpLocks/>
            </p:cNvCxnSpPr>
            <p:nvPr/>
          </p:nvCxnSpPr>
          <p:spPr>
            <a:xfrm>
              <a:off x="5182739" y="4694237"/>
              <a:ext cx="1905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9CF453CD-37C9-412D-B304-D8B22F1859EB}"/>
              </a:ext>
            </a:extLst>
          </p:cNvPr>
          <p:cNvSpPr txBox="1"/>
          <p:nvPr/>
        </p:nvSpPr>
        <p:spPr>
          <a:xfrm>
            <a:off x="3121174" y="1528552"/>
            <a:ext cx="1538932" cy="9694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conomic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GDP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ulation 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ice</a:t>
            </a: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endParaRPr kumimoji="0" lang="en-US" sz="12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A837699-BCFD-4510-8F68-4EB417993C47}"/>
              </a:ext>
            </a:extLst>
          </p:cNvPr>
          <p:cNvSpPr txBox="1"/>
          <p:nvPr/>
        </p:nvSpPr>
        <p:spPr>
          <a:xfrm>
            <a:off x="3898106" y="2681035"/>
            <a:ext cx="1905000" cy="9694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ice Effects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ome Effects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come Effects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stment Effects</a:t>
            </a:r>
            <a:endParaRPr kumimoji="0" lang="en-US" sz="12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1FE6E57-AC9A-4BA4-B48D-6ABD4A20820E}"/>
              </a:ext>
            </a:extLst>
          </p:cNvPr>
          <p:cNvSpPr txBox="1"/>
          <p:nvPr/>
        </p:nvSpPr>
        <p:spPr>
          <a:xfrm>
            <a:off x="4174485" y="4084637"/>
            <a:ext cx="1323821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nd-Use Energy Delivere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4B386BD-6E99-4258-86D3-9D520AD2F5B9}"/>
              </a:ext>
            </a:extLst>
          </p:cNvPr>
          <p:cNvSpPr txBox="1"/>
          <p:nvPr/>
        </p:nvSpPr>
        <p:spPr>
          <a:xfrm>
            <a:off x="5112078" y="1570045"/>
            <a:ext cx="1453028" cy="44627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owth Effects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stment </a:t>
            </a:r>
            <a:endParaRPr kumimoji="0" lang="en-US" sz="12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C686E9B-CA6C-4586-A5C2-5BE3328552FB}"/>
              </a:ext>
            </a:extLst>
          </p:cNvPr>
          <p:cNvSpPr txBox="1"/>
          <p:nvPr/>
        </p:nvSpPr>
        <p:spPr>
          <a:xfrm>
            <a:off x="6445086" y="6130148"/>
            <a:ext cx="1447800" cy="44627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fetime</a:t>
            </a:r>
          </a:p>
          <a:p>
            <a:pPr marL="180000" marR="0" indent="-18000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 typeface="Arial" panose="020B0604020202020204" pitchFamily="34" charset="0"/>
              <a:buChar char="►"/>
              <a:tabLst/>
            </a:pPr>
            <a:r>
              <a:rPr lang="en-US" sz="1200" dirty="0">
                <a:solidFill>
                  <a:srgbClr val="2E2E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ilding Material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F2071A-5CEF-41EE-8392-5757ABFCE1B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74396" y="5019712"/>
            <a:ext cx="2207427" cy="1998662"/>
          </a:xfrm>
        </p:spPr>
        <p:txBody>
          <a:bodyPr/>
          <a:lstStyle/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tailed engineering and economic analysis 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relies on detailed data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lculations on the performance</a:t>
            </a:r>
          </a:p>
          <a:p>
            <a:pPr lvl="2">
              <a:buClr>
                <a:srgbClr val="2E2E38"/>
              </a:buClr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st of individual technolog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E8BCCED-B934-13A6-DF29-37DD097F1D10}"/>
              </a:ext>
            </a:extLst>
          </p:cNvPr>
          <p:cNvGrpSpPr/>
          <p:nvPr/>
        </p:nvGrpSpPr>
        <p:grpSpPr>
          <a:xfrm>
            <a:off x="-10954" y="-10299"/>
            <a:ext cx="7014542" cy="501374"/>
            <a:chOff x="0" y="-1587"/>
            <a:chExt cx="7014542" cy="50137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889B836-103E-43B8-AF46-316DA58CE037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22" name="Other Sections1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9A883590-8DFE-A123-5492-B80E2FC60390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4" name="Other Sections2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80777B2B-D517-A565-1935-4FC435F480A3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5" name="Current Section3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A347901C-BBD6-E70C-0966-AFD2DEE650C6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Other Sections4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577C01E7-DFFA-63D7-BADF-976F38C846DE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8" name="Other Sections5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7FF390A0-6477-3C39-4412-D2F6A9A68BE7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9" name="Other Sections6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B6D40F85-1C0F-D43B-4DAC-35B15C25E02D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Other Sections7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9FE937E7-96FA-7090-0165-823ADF261B56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1" name="Other Sections7">
              <a:hlinkClick r:id="rId11" action="ppaction://hlinksldjump"/>
              <a:extLst>
                <a:ext uri="{FF2B5EF4-FFF2-40B4-BE49-F238E27FC236}">
                  <a16:creationId xmlns:a16="http://schemas.microsoft.com/office/drawing/2014/main" id="{5FB63CD1-B256-F463-B136-334CEDE15F7A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6" name="Date Placeholder 2">
            <a:extLst>
              <a:ext uri="{FF2B5EF4-FFF2-40B4-BE49-F238E27FC236}">
                <a16:creationId xmlns:a16="http://schemas.microsoft.com/office/drawing/2014/main" id="{236E54BC-1F7E-833F-9B28-180DCB0C8B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765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kumimoji="0" lang="en-US" sz="20000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badi Extra Light" panose="020B0604020202020204" pitchFamily="34" charset="0"/>
              </a:rPr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344988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del</a:t>
            </a:r>
            <a:endParaRPr lang="en-GB" sz="6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369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30A614DA-4AEB-4212-B96D-DD1130FA12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30A614DA-4AEB-4212-B96D-DD1130FA1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F8E4B20-E264-B8B7-1100-141ED5818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 </a:t>
            </a:r>
            <a:b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8853E54-9132-D24A-2F3F-1E79B19922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storical production time-series data to build a activity map</a:t>
            </a:r>
          </a:p>
          <a:p>
            <a:pPr marL="180000" lvl="2" indent="0">
              <a:buClr>
                <a:srgbClr val="2E2E38"/>
              </a:buClr>
              <a:buNone/>
            </a:pPr>
            <a:endParaRPr lang="en-GB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>
              <a:buClr>
                <a:srgbClr val="2E2E38"/>
              </a:buClr>
            </a:pPr>
            <a:r>
              <a:rPr lang="en-GB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the activity map to distribute production of each technolo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84E5D-0782-481B-A625-BCAE6A0081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age </a:t>
            </a:r>
            <a:fld id="{B4B94DC2-E9C9-4818-A9D7-181F2AB896C7}" type="slidenum">
              <a:rPr lang="en-GB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8</a:t>
            </a:fld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8B96FB-AA0C-166D-476F-A06A2B1003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ivity Distribution Map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9">
                <a:extLst>
                  <a:ext uri="{FF2B5EF4-FFF2-40B4-BE49-F238E27FC236}">
                    <a16:creationId xmlns:a16="http://schemas.microsoft.com/office/drawing/2014/main" id="{8CAF6A42-202D-DF27-D983-C8B93083E7AF}"/>
                  </a:ext>
                </a:extLst>
              </p:cNvPr>
              <p:cNvSpPr>
                <a:spLocks noGrp="1"/>
              </p:cNvSpPr>
              <p:nvPr>
                <p:ph idx="13"/>
              </p:nvPr>
            </p:nvSpPr>
            <p:spPr/>
            <p:txBody>
              <a:bodyPr/>
              <a:lstStyle/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f Min, </a:t>
                </a:r>
                <a:r>
                  <a:rPr lang="en-US" sz="1400" i="1" dirty="0"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the minimum amount of a technology’s production capacity, given in GWh</a:t>
                </a:r>
              </a:p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 Max, </a:t>
                </a: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echnical potential of production a technology has, given in GWh</a:t>
                </a:r>
              </a:p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f, </a:t>
                </a: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pacity Factor the efficiency ratio, </a:t>
                </a:r>
              </a:p>
              <a:p>
                <a:pPr marL="180000" lvl="2" indent="0">
                  <a:buClr>
                    <a:srgbClr val="2E2E38"/>
                  </a:buClr>
                  <a:buNone/>
                </a:pPr>
                <a:endParaRPr lang="en-US" sz="14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180000" lvl="2" indent="0">
                  <a:buClr>
                    <a:srgbClr val="2E2E38"/>
                  </a:buClr>
                  <a:buNone/>
                </a:pP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 − </m:t>
                    </m:r>
                    <m:r>
                      <a:rPr lang="en-US" sz="1800" i="1" smtClean="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𝐶𝑓</m:t>
                    </m:r>
                    <m:r>
                      <a:rPr lang="en-US" sz="1800" i="1" smtClean="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</a:rPr>
                      <m:t> = </m:t>
                    </m:r>
                    <m:f>
                      <m:fPr>
                        <m:ctrlP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𝐺𝑊h</m:t>
                        </m:r>
                      </m:num>
                      <m:den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(</m:t>
                        </m:r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𝐺𝑊</m:t>
                        </m:r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 × 8766</m:t>
                        </m:r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h</m:t>
                        </m:r>
                        <m:r>
                          <a:rPr lang="en-US" sz="1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  <m:t>)</m:t>
                        </m:r>
                      </m:den>
                    </m:f>
                  </m:oMath>
                </a14:m>
                <a:endParaRPr lang="en-US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180000" lvl="2" indent="0">
                  <a:buClr>
                    <a:srgbClr val="2E2E38"/>
                  </a:buClr>
                  <a:buNone/>
                </a:pPr>
                <a:endParaRPr lang="en-US" sz="14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 inv, </a:t>
                </a: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vesting cost, $M/GW</a:t>
                </a:r>
              </a:p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 main, </a:t>
                </a: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intenance cost, $M/GW</a:t>
                </a:r>
              </a:p>
              <a:p>
                <a:pPr lvl="2">
                  <a:buClr>
                    <a:srgbClr val="2E2E38"/>
                  </a:buClr>
                </a:pPr>
                <a:r>
                  <a:rPr lang="en-US" sz="1400" b="1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WP</a:t>
                </a:r>
                <a:r>
                  <a:rPr lang="en-US" sz="1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Global Warming Potential, GWP/GW</a:t>
                </a:r>
              </a:p>
              <a:p>
                <a:pPr marL="180000" lvl="2" indent="0">
                  <a:buClr>
                    <a:srgbClr val="2E2E38"/>
                  </a:buClr>
                  <a:buNone/>
                </a:pPr>
                <a:endParaRPr lang="en-US" sz="14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180000" lvl="2" indent="0">
                  <a:buClr>
                    <a:srgbClr val="2E2E38"/>
                  </a:buClr>
                  <a:buNone/>
                </a:pPr>
                <a:endParaRPr lang="en-GB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0" name="Content Placeholder 9">
                <a:extLst>
                  <a:ext uri="{FF2B5EF4-FFF2-40B4-BE49-F238E27FC236}">
                    <a16:creationId xmlns:a16="http://schemas.microsoft.com/office/drawing/2014/main" id="{8CAF6A42-202D-DF27-D983-C8B93083E7A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3"/>
              </p:nvPr>
            </p:nvSpPr>
            <p:spPr>
              <a:blipFill>
                <a:blip r:embed="rId6"/>
                <a:stretch>
                  <a:fillRect t="-10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E3CF444-3997-1F6A-BA6D-146CF32DC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traints	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F889237E-A0C5-5B7D-CD0B-FC08B20391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612288"/>
              </p:ext>
            </p:extLst>
          </p:nvPr>
        </p:nvGraphicFramePr>
        <p:xfrm>
          <a:off x="5494714" y="3975636"/>
          <a:ext cx="4575592" cy="316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386E3285-9AA0-A45E-7DF0-6F6D2BCA8898}"/>
              </a:ext>
            </a:extLst>
          </p:cNvPr>
          <p:cNvGrpSpPr/>
          <p:nvPr/>
        </p:nvGrpSpPr>
        <p:grpSpPr>
          <a:xfrm>
            <a:off x="0" y="-1587"/>
            <a:ext cx="7014542" cy="501374"/>
            <a:chOff x="0" y="-1587"/>
            <a:chExt cx="7014542" cy="50137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CA7CF3E-717D-E65C-476A-5C49FDFC448D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0"/>
              <a:ext cx="6137724" cy="499787"/>
              <a:chOff x="594000" y="179388"/>
              <a:chExt cx="5544000" cy="320400"/>
            </a:xfrm>
          </p:grpSpPr>
          <p:sp>
            <p:nvSpPr>
              <p:cNvPr id="22" name="Other Sections1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617D8E71-7E17-61BC-78B5-9505A6374A60}"/>
                  </a:ext>
                </a:extLst>
              </p:cNvPr>
              <p:cNvSpPr txBox="1"/>
              <p:nvPr/>
            </p:nvSpPr>
            <p:spPr>
              <a:xfrm>
                <a:off x="59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5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roduction</a:t>
                </a:r>
              </a:p>
            </p:txBody>
          </p:sp>
          <p:sp>
            <p:nvSpPr>
              <p:cNvPr id="23" name="Other Sections2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DDE5787-DFBE-EA37-7FEB-3B929C0BFB1D}"/>
                  </a:ext>
                </a:extLst>
              </p:cNvPr>
              <p:cNvSpPr txBox="1"/>
              <p:nvPr/>
            </p:nvSpPr>
            <p:spPr>
              <a:xfrm>
                <a:off x="138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terature on Energy models &amp; Contribution</a:t>
                </a:r>
              </a:p>
            </p:txBody>
          </p:sp>
          <p:sp>
            <p:nvSpPr>
              <p:cNvPr id="24" name="Current Section3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D0974EE7-4B57-65C3-9504-9678FECE78F0}"/>
                  </a:ext>
                </a:extLst>
              </p:cNvPr>
              <p:cNvSpPr txBox="1"/>
              <p:nvPr/>
            </p:nvSpPr>
            <p:spPr>
              <a:xfrm>
                <a:off x="2178000" y="179388"/>
                <a:ext cx="792000" cy="320400"/>
              </a:xfrm>
              <a:prstGeom prst="round2SameRect">
                <a:avLst/>
              </a:prstGeom>
              <a:solidFill>
                <a:schemeClr val="tx2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GB" sz="1000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</a:t>
                </a:r>
                <a:endParaRPr lang="en-GB" sz="105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Other Sections4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9C8A77E1-BE88-6D5E-1381-A111168590D5}"/>
                  </a:ext>
                </a:extLst>
              </p:cNvPr>
              <p:cNvSpPr txBox="1"/>
              <p:nvPr/>
            </p:nvSpPr>
            <p:spPr>
              <a:xfrm>
                <a:off x="2970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olver</a:t>
                </a:r>
                <a:endParaRPr lang="en-GB" sz="9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Other Sections5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FD275427-FB65-9A9B-5F56-9879A84842C9}"/>
                  </a:ext>
                </a:extLst>
              </p:cNvPr>
              <p:cNvSpPr txBox="1"/>
              <p:nvPr/>
            </p:nvSpPr>
            <p:spPr>
              <a:xfrm>
                <a:off x="3762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ife-cycle cost GWP analysis and calculation</a:t>
                </a:r>
                <a:endParaRPr lang="en-GB" sz="10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7" name="Other Sections6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BA95C76F-913A-8E17-3281-7840987536A4}"/>
                  </a:ext>
                </a:extLst>
              </p:cNvPr>
              <p:cNvSpPr txBox="1"/>
              <p:nvPr/>
            </p:nvSpPr>
            <p:spPr>
              <a:xfrm>
                <a:off x="4554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st and GWP minimization scenario result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Other Sections7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18A7656C-28DB-02DA-F168-D4C2084D7E08}"/>
                  </a:ext>
                </a:extLst>
              </p:cNvPr>
              <p:cNvSpPr txBox="1"/>
              <p:nvPr/>
            </p:nvSpPr>
            <p:spPr>
              <a:xfrm>
                <a:off x="5346000" y="179388"/>
                <a:ext cx="792000" cy="320400"/>
              </a:xfrm>
              <a:prstGeom prst="round2SameRect">
                <a:avLst/>
              </a:prstGeom>
              <a:solidFill>
                <a:srgbClr val="C4C4CD"/>
              </a:solidFill>
              <a:ln w="3175">
                <a:solidFill>
                  <a:schemeClr val="tx1"/>
                </a:solidFill>
              </a:ln>
            </p:spPr>
            <p:txBody>
              <a:bodyPr vert="horz"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85000"/>
                  </a:lnSpc>
                </a:pPr>
                <a:r>
                  <a:rPr lang="en-US" sz="1000" dirty="0">
                    <a:solidFill>
                      <a:schemeClr val="bg2"/>
                    </a:solidFill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nergy consumption on HDI indicators</a:t>
                </a:r>
                <a:endParaRPr lang="en-GB" sz="1000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1" name="Other Sections7">
              <a:hlinkClick r:id="rId13" action="ppaction://hlinksldjump"/>
              <a:extLst>
                <a:ext uri="{FF2B5EF4-FFF2-40B4-BE49-F238E27FC236}">
                  <a16:creationId xmlns:a16="http://schemas.microsoft.com/office/drawing/2014/main" id="{20B0B9EB-35FD-85BD-C471-BCD0C3299CE2}"/>
                </a:ext>
              </a:extLst>
            </p:cNvPr>
            <p:cNvSpPr txBox="1"/>
            <p:nvPr/>
          </p:nvSpPr>
          <p:spPr>
            <a:xfrm>
              <a:off x="6137724" y="-1587"/>
              <a:ext cx="876818" cy="499787"/>
            </a:xfrm>
            <a:prstGeom prst="round2SameRect">
              <a:avLst/>
            </a:prstGeom>
            <a:solidFill>
              <a:srgbClr val="C4C4CD"/>
            </a:solidFill>
            <a:ln w="3175">
              <a:solidFill>
                <a:schemeClr val="tx1"/>
              </a:solidFill>
            </a:ln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5000"/>
                </a:lnSpc>
              </a:pPr>
              <a:r>
                <a:rPr lang="en-US" sz="1000" dirty="0">
                  <a:solidFill>
                    <a:schemeClr val="bg2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aw Material Prices and Production implications</a:t>
              </a:r>
              <a:endParaRPr lang="en-GB" sz="1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Date Placeholder 2">
            <a:extLst>
              <a:ext uri="{FF2B5EF4-FFF2-40B4-BE49-F238E27FC236}">
                <a16:creationId xmlns:a16="http://schemas.microsoft.com/office/drawing/2014/main" id="{943FF8ED-2D63-C473-3CD5-52907518E4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" y="7272339"/>
            <a:ext cx="7863774" cy="107947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y 2023 | Version 1.0 (Final) | Keisi Kapaj – Modelling the Energy Transition| 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062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59810F-1FC6-44EA-A32A-0D92E4F459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59810F-1FC6-44EA-A32A-0D92E4F45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pylon&#10;&#10;Description automatically generated">
            <a:extLst>
              <a:ext uri="{FF2B5EF4-FFF2-40B4-BE49-F238E27FC236}">
                <a16:creationId xmlns:a16="http://schemas.microsoft.com/office/drawing/2014/main" id="{CE73B2A0-4549-451B-8669-09866D4E26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2" r="-20442"/>
          <a:stretch/>
        </p:blipFill>
        <p:spPr>
          <a:xfrm>
            <a:off x="6826" y="-1"/>
            <a:ext cx="13439422" cy="75596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982F3-F840-46D2-BB2F-7EE3B934BAF9}"/>
              </a:ext>
            </a:extLst>
          </p:cNvPr>
          <p:cNvSpPr txBox="1"/>
          <p:nvPr/>
        </p:nvSpPr>
        <p:spPr>
          <a:xfrm>
            <a:off x="543718" y="812602"/>
            <a:ext cx="1600200" cy="30777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tabLst/>
            </a:pPr>
            <a:r>
              <a:rPr lang="en-US" sz="20000" dirty="0">
                <a:solidFill>
                  <a:srgbClr val="2E2E38"/>
                </a:solidFill>
                <a:latin typeface="Abadi Extra Light" panose="020B0604020202020204" pitchFamily="34" charset="0"/>
              </a:rPr>
              <a:t>4</a:t>
            </a:r>
            <a:endParaRPr kumimoji="0" lang="en-US" sz="20000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badi Extra Light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A1387F-B26D-4657-BA41-DE58930D3169}"/>
              </a:ext>
            </a:extLst>
          </p:cNvPr>
          <p:cNvSpPr txBox="1"/>
          <p:nvPr/>
        </p:nvSpPr>
        <p:spPr>
          <a:xfrm>
            <a:off x="543718" y="3779836"/>
            <a:ext cx="4344988" cy="6155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000" b="1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olver</a:t>
            </a:r>
            <a:endParaRPr lang="en-GB" sz="6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06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SDESIGN" val="EY Global"/>
  <p:tag name="UPSLIDEPRINTFACINGPAGESLAYOUT" val="Title Slide"/>
  <p:tag name="UPSLIDETOCALGOID" val="Standard"/>
  <p:tag name="DATESCRIPT" val="&lt;%Date%&gt; | &lt;%Title%&gt; | &lt;%Subtitle%&gt;"/>
  <p:tag name="UPSLIDETOCMASTERID" val="EY SAT Global03 08 2022"/>
  <p:tag name="UPSLIDETOCMASTERNAME" val="EY SAT Global"/>
  <p:tag name="UPSLIDETOCMASTERLASTEDITIONDATE" val="637823519520457550"/>
  <p:tag name="TEMPLATESHORTNAMETAG" val="EY SAT Template Selector"/>
  <p:tag name="TEMPLATEFULLNAMETAG" val="EY SAT Template Selector"/>
  <p:tag name="TEMPLATEDETAILSTAG" val="Quickly choose the appropriate template and have basic information filled in automatically"/>
  <p:tag name="UPSLIDE" val="EYG02623_EY SAT Template Selector_03-18-2022"/>
  <p:tag name="UPSLIDEVERSION" val="6.8.25.1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Table of contents&lt;/SlideTitle&gt;&#10;  &lt;/TocSlidesOptions&gt;&#10;  &lt;SectionSlideOptions&gt;&#10;    &lt;ContainsOwnSubSection&gt;true&lt;/ContainsOwnSubSection&gt;&#10;    &lt;ContainsOwnSlide&gt;tru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true&lt;/containsUnnumberedSections&gt;&#10;    &lt;SlideTitle&gt;Section&lt;/SlideTitle&gt;&#10;  &lt;/SectionSlideOptions&gt;&#10;  &lt;SubSectionSlideOptions&gt;&#10;    &lt;ContainsOtherSubsections&gt;false&lt;/ContainsOtherSubsections&gt;&#10;    &lt;ContainsOwnSlides&gt;true&lt;/ContainsOwnSlides&gt;&#10;    &lt;ContainsParentSection&gt;false&lt;/ContainsParentSection&gt;&#10;    &lt;ContainsOtherSections&gt;false&lt;/ContainsOtherSections&gt;&#10;    &lt;containsAppendix&gt;false&lt;/containsAppendix&gt;&#10;    &lt;containsUnnumberedSections&gt;false&lt;/containsUnnumberedSections&gt;&#10;    &lt;SlideTitle&gt;Subsection&lt;/SlideTitle&gt;&#10;  &lt;/SubSectionSlideOptions&gt;&#10;  &lt;UsedSlideLayouts&gt;&#10;    &lt;TocSlidesLayout&gt;&#10;      &lt;DesignName&gt;EY Global&lt;/DesignName&gt;&#10;      &lt;LayoutName&gt;Agenda&lt;/LayoutName&gt;&#10;    &lt;/TocSlidesLayout&gt;&#10;    &lt;SectionLayout&gt;&#10;      &lt;DesignName&gt;EY Global&lt;/DesignName&gt;&#10;      &lt;LayoutName&gt;Section divider&lt;/LayoutName&gt;&#10;    &lt;/SectionLayout&gt;&#10;    &lt;SubsectionLayout&gt;&#10;      &lt;DesignName&gt;EY Global&lt;/DesignName&gt;&#10;      &lt;LayoutName&gt;Subsection divider&lt;/LayoutName&gt;&#10;    &lt;/SubsectionLayout&gt;&#10;    &lt;AppendixLayout&gt;&#10;      &lt;DesignName&gt;EY Global&lt;/DesignName&gt;&#10;      &lt;LayoutName&gt;Appendix divider&lt;/LayoutName&gt;&#10;    &lt;/AppendixLayout&gt;&#10;    &lt;TitleSliLayout&gt;&#10;      &lt;DesignName&gt;EY Global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08/03/2022 15:04:59361322441&lt;/Key&gt;&#10;        &lt;Value xsi:type=&quot;xsd:string&quot;&gt;&amp;lt;%SubSecNumElseSecNum%&amp;gt;&amp;lt;%DotIfSubSecOrSecNum%&amp;gt;&amp;lt;%SpaceIfSubSecOrSecNum%&amp;gt;&amp;lt;%SubSecNameElseSecName%&amp;gt;&lt;/Value&gt;&#10;      &lt;/ReminderScript&gt;&#10;    &lt;/ReminderScriptList&gt;&#10;    &lt;MigrationVersion&gt;6.8.8.1&lt;/MigrationVersion&gt;&#10;  &lt;/ActiveReminders&gt;&#10;  &lt;HardRefreshRequired&gt;true&lt;/HardRefreshRequired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true&lt;/ForceDisplayTOCOnTwocolumns&gt;&#10;      &lt;DisplayTOCOnTwocolumns&gt;true&lt;/DisplayTOCOnTwocolumns&gt;&#10;      &lt;Scripts&gt;&#10;        &lt;BeforeSubSecTitle /&gt;&#10;        &lt;BeforeSlideIndex /&gt;&#10;        &lt;AfterSecNum /&gt;&#10;        &lt;BeforeSecNum /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27&lt;/SpaceBeforeSections&gt;&#10;          &lt;SpaceBeforeSubSections&gt;0&lt;/SpaceBeforeSubSections&gt;&#10;          &lt;SpaceBeforeSlides&gt;0&lt;/SpaceBeforeSlides&gt;&#10;        &lt;/ManualSpacing&gt;&#10;        &lt;ManualSpacingSections&gt;&#10;          &lt;SpaceBeforeSections&gt;26.1731358&lt;/SpaceBeforeSections&gt;&#10;          &lt;SpaceBeforeSubSections&gt;0&lt;/SpaceBeforeSubSections&gt;&#10;          &lt;SpaceBeforeSlides&gt;0&lt;/SpaceBeforeSlides&gt;&#10;        &lt;/ManualSpacingSections&gt;&#10;        &lt;ManualSpacingSubSections&gt;&#10;          &lt;SpaceBeforeSections&gt;26.1731358&lt;/SpaceBeforeSections&gt;&#10;          &lt;SpaceBeforeSubSections&gt;0&lt;/SpaceBeforeSubSections&gt;&#10;          &lt;SpaceBeforeSlides&gt;0&lt;/SpaceBeforeSlides&gt;&#10;        &lt;/ManualSpacingSubSections&gt;&#10;        &lt;UseSpecificSpacingForSecDivider&gt;true&lt;/UseSpecificSpacingForSecDivider&gt;&#10;        &lt;UseSpecificSpacingForSubSecDivider&gt;true&lt;/UseSpecificSpacingForSubSecDivider&gt;&#10;      &lt;/ManVerticalSpacing&gt;&#10;    &lt;/CustomBaseAlgoOptions&gt;&#10;  &lt;/CustomAlgoOptions&gt;&#10;  &lt;UserPresentationOptions&gt;&#10;    &lt;SubSectionsHaveSlide&gt;true&lt;/SubSectionsHaveSlide&gt;&#10;    &lt;SectionDividersContainOwnSubSections&gt;true&lt;/SectionDividersContainOwnSubSections&gt;&#10;    &lt;SectionDividersContainOwnSlideTitles&gt;false&lt;/SectionDividersContainOwnSlideTitles&gt;&#10;    &lt;SubSectionDividersContainOwnSlideTitles&gt;false&lt;/SubSectionDividersContainOwnSlideTitles&gt;&#10;    &lt;TOCSlidesContainSubsectionTitles&gt;false&lt;/TOCSlidesContainSubsectionTitles&gt;&#10;    &lt;TOCSlidesContainSlideTitles xsi:nil=&quot;true&quot; /&gt;&#10;    &lt;DisplayRemindersOnSlides&gt;fals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THINKCELLPRESENTATIONDONOTDELETE" val="&lt;?xml version=&quot;1.0&quot; encoding=&quot;UTF-16&quot; standalone=&quot;yes&quot;?&gt;&lt;root reqver=&quot;27037&quot;&gt;&lt;version val=&quot;330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72900000000000009237E+00&quot;&gt;&lt;m_msothmcolidx val=&quot;0&quot;/&gt;&lt;m_rgb r=&quot;0B&quot; g=&quot;BC&quot; b=&quot;FF&quot;/&gt;&lt;/elem&gt;&lt;elem m_fUsage=&quot;9.00000000000000022204E-01&quot;&gt;&lt;m_msothmcolidx val=&quot;0&quot;/&gt;&lt;m_rgb r=&quot;00&quot; g=&quot;9A&quot; b=&quot;D5&quot;/&gt;&lt;/elem&gt;&lt;elem m_fUsage=&quot;8.10000000000000053291E-01&quot;&gt;&lt;m_msothmcolidx val=&quot;0&quot;/&gt;&lt;m_rgb r=&quot;FF&quot; g=&quot;D2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s.FTH5oaLTNirScOUK3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6OhP3pH3MdRdj5u9J0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h3acqqocd_A3E5oLW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R4Of.wtGDUzMLrwuuW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E6lJ6OipLV7cBd4g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NN.eWYUuCehwFjI3K7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18TBf4DNYBtmpVHURF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418485578.350619"/>
  <p:tag name="IMPORTID" val="4781418485442.718858"/>
  <p:tag name="WBLAST" val="https://people.ey.com/personal/keisi_kapaj_al_ey_com/Documents/Desktop/Keisi's/Minimizatios/COST Minimize.xlsx"/>
  <p:tag name="USER NAME" val="DU952LT"/>
  <p:tag name="TYPE" val="1"/>
  <p:tag name="SOURCENAME" val="Shocks"/>
  <p:tag name="SHEETID" val="Cost Minimization"/>
  <p:tag name="PICTUREAPPEARANCE" val="xlPrinter"/>
  <p:tag name="NORESIZEONUPDATE" val="Fals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89f89d8d-4be6-41f3-8c01-4b2e1818ca07"/>
  <p:tag name="UPSLIDESHAPELIBITEMEDITIONDATE" val="637830448839542822"/>
  <p:tag name="UPSLIDESHAPELIBITEMLASTCREATOR" val="browning"/>
  <p:tag name="UPSLIDESHAPELIBITEMNAME" val="Back cover A4 - Americas"/>
  <p:tag name="UPSLIDESTOREDSHAPELOCATION" val="c:\customization\libraries\Report Library\01. A4 template\A4 back covers.li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08/03/2022 15:04:59361322441"/>
  <p:tag name="TOCTEMPLATESHAPENAME" val="Section name and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ad8880f8-a26a-4d47-b68c-9145f7f0ff50"/>
  <p:tag name="UPSLIDESHAPELIBITEMEDITIONDATE" val="637830448842966319"/>
  <p:tag name="UPSLIDESHAPELIBITEMLASTCREATOR" val="browning"/>
  <p:tag name="UPSLIDESHAPELIBITEMNAME" val="Back cover A4 - APAC"/>
  <p:tag name="UPSLIDESTOREDSHAPELOCATION" val="c:\customization\libraries\Report Library\01. A4 template\A4 back covers.li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LID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ed5cf9d4-0ee8-4d37-b2e3-49a9e00ca617"/>
  <p:tag name="UPSLIDESHAPELIBITEMEDITIONDATE" val="637830448841251086"/>
  <p:tag name="UPSLIDESHAPELIBITEMLASTCREATOR" val="browning"/>
  <p:tag name="UPSLIDESHAPELIBITEMNAME" val="Back cover A4 - EMEIA"/>
  <p:tag name="UPSLIDESTOREDSHAPELOCATION" val="c:\customization\libraries\Report Library\01. A4 template\A4 back covers.li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5"/>
  <p:tag name="SLIDEINDEX" val="38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6"/>
  <p:tag name="SLIDEINDEX" val="38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88"/>
  <p:tag name="SLIDEINDEX" val="38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90"/>
  <p:tag name="SLIDEINDEX" val="39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92"/>
  <p:tag name="SLIDEINDEX" val="39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TOCSHAPE" val="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418557876.960372"/>
  <p:tag name="IMPORTID" val="6639418556396.548238"/>
  <p:tag name="WBLAST" val="https://people.ey.com/personal/keisi_kapaj_al_ey_com/Documents/Desktop/Keisi's/Minimizatios/GWP Minimize.kkkkxlsx.xlsx"/>
  <p:tag name="USER NAME" val="DU952LT"/>
  <p:tag name="TYPE" val="1"/>
  <p:tag name="SHEETID" val="GWP Minimization Results"/>
  <p:tag name="PICTUREAPPEARANCE" val="xlPrinter"/>
  <p:tag name="NORESIZEONUPDATE" val="Fals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418424042.88081"/>
  <p:tag name="IMPORTID" val="4028418424042.88081"/>
  <p:tag name="WBLAST" val="https://people.ey.com/personal/keisi_kapaj_al_ey_com/Documents/Desktop/Keisi's/Minimizatios/COST Minimize.xlsx"/>
  <p:tag name="USER NAME" val="DU952LT"/>
  <p:tag name="TYPE" val="1"/>
  <p:tag name="SOURCENAME" val="Technology"/>
  <p:tag name="SHEETID" val="Electricity Sector"/>
  <p:tag name="PICTUREAPPEARANCE" val="xlPrinter"/>
  <p:tag name="NORESIZEONUPDATE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 UPDATE DATE" val="418468728.882681"/>
  <p:tag name="IMPORTID" val="3866418468361.142578"/>
  <p:tag name="WBLAST" val="https://people.ey.com/personal/keisi_kapaj_al_ey_com/Documents/Desktop/Keisi's/Minimizatios/GWP Minimize.kkkkxlsx.xlsx"/>
  <p:tag name="USER NAME" val="DU952LT"/>
  <p:tag name="TYPE" val="1"/>
  <p:tag name="SHEETID" val="GWP Electricity System"/>
  <p:tag name="PICTUREAPPEARANCE" val="xlPrinter"/>
  <p:tag name="NORESIZEONUPDATE" val="Fals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READCRUMB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1.h9JCM.m1nwoD3U77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cCqtJM.W1kkmMVMfXJA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GJH076NBekm3NThgk54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eZf31dB9d7iE8pSO3hP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EuBz7xWWKcUtOeTIaN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YvW_UXYRmJRLEG948p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7sGFwcSwxhXCwW9Qm5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.BOH5.nDzHRLZk6BPS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Ol1o0Dnz6q6p88JgXf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VstZmrSFHFhCJ34dOR7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6OPl6q.CS3.W5ctcA9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f5ETK40s2u.sO5WX7xt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K3WHILhRoHD1cwErjM0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SA29dDtlzvWNg0H5H4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dn9sNa_9PbsNj4Ap6AIw"/>
</p:tagLst>
</file>

<file path=ppt/theme/theme1.xml><?xml version="1.0" encoding="utf-8"?>
<a:theme xmlns:a="http://schemas.openxmlformats.org/drawingml/2006/main" name="EY Global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marL="180000" marR="0" indent="-180000" algn="l" defTabSz="1007943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E2E38"/>
          </a:buClr>
          <a:buSzPct val="70000"/>
          <a:buFont typeface="Arial" panose="020B0604020202020204" pitchFamily="34" charset="0"/>
          <a:buChar char="►"/>
          <a:tabLst/>
          <a:defRPr kumimoji="0" sz="1000" strike="noStrike" kern="1200" cap="none" spc="0" normalizeH="0" baseline="0" noProof="0" dirty="0" smtClean="0">
            <a:ln>
              <a:noFill/>
            </a:ln>
            <a:solidFill>
              <a:srgbClr val="2E2E38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custClrLst>
    <a:custClr name="EY Gray 01">
      <a:srgbClr val="747480"/>
    </a:custClr>
    <a:custClr name="EY Gray 02">
      <a:srgbClr val="C4C4CD"/>
    </a:custClr>
    <a:custClr name="EY Off White (digital)">
      <a:srgbClr val="F6F6FA"/>
    </a:custClr>
    <a:custClr name="EY Red Shade 1">
      <a:srgbClr val="FF9A91"/>
    </a:custClr>
    <a:custClr name="EY Red Shade 2">
      <a:srgbClr val="FF736A"/>
    </a:custClr>
    <a:custClr name="EY Red Shade 3">
      <a:srgbClr val="F95D54"/>
    </a:custClr>
    <a:custClr name="EY Red Shade 4 (Main)">
      <a:srgbClr val="FF4136"/>
    </a:custClr>
    <a:custClr name="EY Red Shade 5">
      <a:srgbClr val="E0362C"/>
    </a:custClr>
    <a:custClr name="EY Red Shade 6">
      <a:srgbClr val="B9251C"/>
    </a:custClr>
    <a:custClr name="EY Red Shade 7">
      <a:srgbClr val="7A130D"/>
    </a:custClr>
    <a:custClr name="EY Maroon Shade 6">
      <a:srgbClr val="42152D"/>
    </a:custClr>
    <a:custClr name="EY Maroon Shade 5">
      <a:srgbClr val="5A0A42"/>
    </a:custClr>
    <a:custClr name="EY Maroon Shade 4 (Main)">
      <a:srgbClr val="750E5C"/>
    </a:custClr>
    <a:custClr name="EY Orange Shade 1">
      <a:srgbClr val="FFB46A"/>
    </a:custClr>
    <a:custClr name="EY Orange Shade 2">
      <a:srgbClr val="FF9831"/>
    </a:custClr>
    <a:custClr name="EY Orange Shade 3">
      <a:srgbClr val="FF810A"/>
    </a:custClr>
    <a:custClr name="EY Orange Shade 4 (Main)">
      <a:srgbClr val="FF6D00"/>
    </a:custClr>
    <a:custClr name="EY Orange Shade 5">
      <a:srgbClr val="F76900"/>
    </a:custClr>
    <a:custClr name="EY Orange Shade 6">
      <a:srgbClr val="EB4F00"/>
    </a:custClr>
    <a:custClr name="EY Orange Shade 7">
      <a:srgbClr val="BC2F00"/>
    </a:custClr>
    <a:custClr name="EY Maroon Shade 3">
      <a:srgbClr val="922B73"/>
    </a:custClr>
    <a:custClr name="EY Maroon Shade 2">
      <a:srgbClr val="754891"/>
    </a:custClr>
    <a:custClr name="EY Maroon Shade 1">
      <a:srgbClr val="C981B2"/>
    </a:custClr>
    <a:custClr name="EY Green Shade 1">
      <a:srgbClr val="8CE8AD"/>
    </a:custClr>
    <a:custClr name="EY Green Shade 2">
      <a:srgbClr val="57E188"/>
    </a:custClr>
    <a:custClr name="EY Green Shade 3">
      <a:srgbClr val="34C768"/>
    </a:custClr>
    <a:custClr name="EY Green Shade 4 (Main)">
      <a:srgbClr val="2DB757"/>
    </a:custClr>
    <a:custClr name="EY Green Shade 5">
      <a:srgbClr val="189D3E"/>
    </a:custClr>
    <a:custClr name="EY Green Shade 6">
      <a:srgbClr val="168736"/>
    </a:custClr>
    <a:custClr name="EY Green Shade 7">
      <a:srgbClr val="13652A"/>
    </a:custClr>
    <a:custClr name="EY Purple Shade 6">
      <a:srgbClr val="0A095A"/>
    </a:custClr>
    <a:custClr name="EY Purple Shade 5">
      <a:srgbClr val="240D75"/>
    </a:custClr>
    <a:custClr name="EY Purple Shade 4 (Main)">
      <a:srgbClr val="3D108A"/>
    </a:custClr>
    <a:custClr name="EY Teal Shade 1">
      <a:srgbClr val="93F0E6"/>
    </a:custClr>
    <a:custClr name="EY Teal Shade 2">
      <a:srgbClr val="60E6E1"/>
    </a:custClr>
    <a:custClr name="EY Teal Shade 3">
      <a:srgbClr val="42C9C2"/>
    </a:custClr>
    <a:custClr name="EY Teal Shade 4 (Main)">
      <a:srgbClr val="27ACAA"/>
    </a:custClr>
    <a:custClr name="EY Teal Shade 5">
      <a:srgbClr val="109090"/>
    </a:custClr>
    <a:custClr name="EY Teal Shade 6">
      <a:srgbClr val="0D7575"/>
    </a:custClr>
    <a:custClr name="EY Teal Shade 7">
      <a:srgbClr val="004F4F"/>
    </a:custClr>
    <a:custClr name="EY Purple Shade 3">
      <a:srgbClr val="542EA5"/>
    </a:custClr>
    <a:custClr name="EY Purple Shade 2">
      <a:srgbClr val="724BC3"/>
    </a:custClr>
    <a:custClr name="EY Purple Shade 1">
      <a:srgbClr val="9C82D4"/>
    </a:custClr>
    <a:custClr name="EY Blue Shade 1">
      <a:srgbClr val="87D3F2"/>
    </a:custClr>
    <a:custClr name="EY Blue Shade 2">
      <a:srgbClr val="4EBEEB"/>
    </a:custClr>
    <a:custClr name="EY Blue Shade 3">
      <a:srgbClr val="35A4E8"/>
    </a:custClr>
    <a:custClr name="EY Blue Shade 4 (Main)">
      <a:srgbClr val="188CE5"/>
    </a:custClr>
    <a:custClr name="EY Blue Shade 5">
      <a:srgbClr val="1777CF"/>
    </a:custClr>
    <a:custClr name="EY Blue Shade 6">
      <a:srgbClr val="155CB4"/>
    </a:custClr>
    <a:custClr name="EY Blue Shade 7">
      <a:srgbClr val="082C65"/>
    </a:custClr>
  </a:custClrLst>
  <a:extLst>
    <a:ext uri="{05A4C25C-085E-4340-85A3-A5531E510DB2}">
      <thm15:themeFamily xmlns:thm15="http://schemas.microsoft.com/office/thememl/2012/main" name="A4 TD Report.potx" id="{636F0F59-1D55-4540-B27A-1F7C38A41945}" vid="{62B95FA4-A9CD-45E1-84AB-C24362A0DF12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TD Report.potx" id="{636F0F59-1D55-4540-B27A-1F7C38A41945}" vid="{D2029B50-7CFE-4870-9F0A-5CE898F8FA7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4 TD Report</Template>
  <TotalTime>1338</TotalTime>
  <Words>1652</Words>
  <Application>Microsoft Office PowerPoint</Application>
  <PresentationFormat>Custom</PresentationFormat>
  <Paragraphs>307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badi Extra Light</vt:lpstr>
      <vt:lpstr>Arial</vt:lpstr>
      <vt:lpstr>Calibri</vt:lpstr>
      <vt:lpstr>Cambria Math</vt:lpstr>
      <vt:lpstr>Garamond</vt:lpstr>
      <vt:lpstr>Segoe UI Semibold</vt:lpstr>
      <vt:lpstr>Times New Roman</vt:lpstr>
      <vt:lpstr>EY Global</vt:lpstr>
      <vt:lpstr>UpSlide Table Of Content Master (do not edit)</vt:lpstr>
      <vt:lpstr>think-cell Slide</vt:lpstr>
      <vt:lpstr>PowerPoint Presentation</vt:lpstr>
      <vt:lpstr>Table of contents</vt:lpstr>
      <vt:lpstr>PowerPoint Presentation</vt:lpstr>
      <vt:lpstr>As of 2021, 44 countries and the European Union have pledged to net-zero-by-2050 policies. Altogether accounting for 70% of the total global emissions.</vt:lpstr>
      <vt:lpstr>PowerPoint Presentation</vt:lpstr>
      <vt:lpstr>Energy Models two main categories: bottom-up and top-down approaches:</vt:lpstr>
      <vt:lpstr>PowerPoint Presentation</vt:lpstr>
      <vt:lpstr>Model  </vt:lpstr>
      <vt:lpstr>PowerPoint Presentation</vt:lpstr>
      <vt:lpstr> Solver  </vt:lpstr>
      <vt:lpstr>PowerPoint Presentation</vt:lpstr>
      <vt:lpstr>Factoring Lifetime and Efficiency on Cost and GWP calculation per technology</vt:lpstr>
      <vt:lpstr>PowerPoint Presentation</vt:lpstr>
      <vt:lpstr>Cost and GWP minimization scenario results </vt:lpstr>
      <vt:lpstr>PowerPoint Presentation</vt:lpstr>
      <vt:lpstr>Energy consumption on the human development indicators </vt:lpstr>
      <vt:lpstr>PowerPoint Presentation</vt:lpstr>
      <vt:lpstr>Raw Material Prices and Production implications </vt:lpstr>
      <vt:lpstr>Metal Selection</vt:lpstr>
      <vt:lpstr>Impulse response function results</vt:lpstr>
      <vt:lpstr>Impulse response function result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kk</dc:title>
  <dc:creator>DU952LT</dc:creator>
  <cp:lastModifiedBy>Keisi Kapaj</cp:lastModifiedBy>
  <cp:revision>2</cp:revision>
  <dcterms:created xsi:type="dcterms:W3CDTF">2023-04-04T13:50:14Z</dcterms:created>
  <dcterms:modified xsi:type="dcterms:W3CDTF">2023-04-30T12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$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3-04-30T09:54:28Z</vt:filetime>
  </property>
</Properties>
</file>